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20"/>
  </p:notesMasterIdLst>
  <p:sldIdLst>
    <p:sldId id="265" r:id="rId5"/>
    <p:sldId id="267" r:id="rId6"/>
    <p:sldId id="2147475094" r:id="rId7"/>
    <p:sldId id="274" r:id="rId8"/>
    <p:sldId id="2147475108" r:id="rId9"/>
    <p:sldId id="2147475090" r:id="rId10"/>
    <p:sldId id="2147475091" r:id="rId11"/>
    <p:sldId id="2147475092" r:id="rId12"/>
    <p:sldId id="2147475095" r:id="rId13"/>
    <p:sldId id="2147475093" r:id="rId14"/>
    <p:sldId id="277" r:id="rId15"/>
    <p:sldId id="2147475088" r:id="rId16"/>
    <p:sldId id="2147475084" r:id="rId17"/>
    <p:sldId id="2147475085" r:id="rId18"/>
    <p:sldId id="214747510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1C3740-B010-160A-3258-6D6E8989230C}" name="Shaun Roberts" initials="SR" userId="S::shaun.roberts@royalmail.com::ebf1fe19-d20f-46b3-b038-c19bbf0e1973" providerId="AD"/>
  <p188:author id="{73F9AF88-0FEC-0B3F-82D6-79301B0F48A2}" name="Heather Middleton" initials="HM" userId="S::heather.middleton@royalmail.com::6e34c848-5e29-439d-9a87-7cab8f059fca" providerId="AD"/>
  <p188:author id="{FE6ADFB2-2A23-FDCA-F432-589C49507BB1}" name="Tim Cable" initials="TC" userId="S::tim.cable@marketreach.co.uk::7f7b60d2-54f7-4733-96bc-65ecffbc605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 Cable" initials="TC" lastIdx="3" clrIdx="6">
    <p:extLst>
      <p:ext uri="{19B8F6BF-5375-455C-9EA6-DF929625EA0E}">
        <p15:presenceInfo xmlns:p15="http://schemas.microsoft.com/office/powerpoint/2012/main" userId="Tim Cable" providerId="None"/>
      </p:ext>
    </p:extLst>
  </p:cmAuthor>
  <p:cmAuthor id="1" name="Shaun Roberts" initials="SR" lastIdx="5" clrIdx="0">
    <p:extLst>
      <p:ext uri="{19B8F6BF-5375-455C-9EA6-DF929625EA0E}">
        <p15:presenceInfo xmlns:p15="http://schemas.microsoft.com/office/powerpoint/2012/main" userId="S-1-5-21-3684057560-553081627-3205033306-57909" providerId="AD"/>
      </p:ext>
    </p:extLst>
  </p:cmAuthor>
  <p:cmAuthor id="2" name="Ravi Chauhan" initials="RC" lastIdx="5" clrIdx="1">
    <p:extLst>
      <p:ext uri="{19B8F6BF-5375-455C-9EA6-DF929625EA0E}">
        <p15:presenceInfo xmlns:p15="http://schemas.microsoft.com/office/powerpoint/2012/main" userId="S::ravi.chauhan@royalmail.com::acb32b50-ad99-4722-ba26-a03be9503c15" providerId="AD"/>
      </p:ext>
    </p:extLst>
  </p:cmAuthor>
  <p:cmAuthor id="3" name="Shaun Roberts" initials="SR [2]" lastIdx="2" clrIdx="2">
    <p:extLst>
      <p:ext uri="{19B8F6BF-5375-455C-9EA6-DF929625EA0E}">
        <p15:presenceInfo xmlns:p15="http://schemas.microsoft.com/office/powerpoint/2012/main" userId="S::shaun.roberts@royalmail.com::ebf1fe19-d20f-46b3-b038-c19bbf0e1973" providerId="AD"/>
      </p:ext>
    </p:extLst>
  </p:cmAuthor>
  <p:cmAuthor id="4" name="Clare Walker" initials="CW" lastIdx="10" clrIdx="3">
    <p:extLst>
      <p:ext uri="{19B8F6BF-5375-455C-9EA6-DF929625EA0E}">
        <p15:presenceInfo xmlns:p15="http://schemas.microsoft.com/office/powerpoint/2012/main" userId="S::clare.l.walker@royalmail.com::36d287ed-edea-4b20-ba42-472b87689d5e" providerId="AD"/>
      </p:ext>
    </p:extLst>
  </p:cmAuthor>
  <p:cmAuthor id="5" name="Daniel Quy" initials="DQ" lastIdx="1" clrIdx="4">
    <p:extLst>
      <p:ext uri="{19B8F6BF-5375-455C-9EA6-DF929625EA0E}">
        <p15:presenceInfo xmlns:p15="http://schemas.microsoft.com/office/powerpoint/2012/main" userId="S::daniel.quy@royalmail.com::a8329377-cc98-4ced-9cd3-53c27faea658" providerId="AD"/>
      </p:ext>
    </p:extLst>
  </p:cmAuthor>
  <p:cmAuthor id="6" name="Mike Haskins" initials="MH" lastIdx="5" clrIdx="5">
    <p:extLst>
      <p:ext uri="{19B8F6BF-5375-455C-9EA6-DF929625EA0E}">
        <p15:presenceInfo xmlns:p15="http://schemas.microsoft.com/office/powerpoint/2012/main" userId="S::mike.haskins@royalmail.com::94043657-ade3-401f-a94b-16f1a90a28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856F0C-DDCE-4D36-9211-089FD3F76D46}" v="1" dt="2026-06-29T08:06:42.7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404" autoAdjust="0"/>
  </p:normalViewPr>
  <p:slideViewPr>
    <p:cSldViewPr snapToGrid="0">
      <p:cViewPr varScale="1">
        <p:scale>
          <a:sx n="70" d="100"/>
          <a:sy n="70" d="100"/>
        </p:scale>
        <p:origin x="51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39:16.539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39:16.544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20:52.783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20:52.784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41:43.413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16:21.111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16:21.112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39:16.539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41:43.413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18:33.769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2-20T16:18:33.770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7T16:39:16.539"/>
    </inkml:context>
    <inkml:brush xml:id="br0">
      <inkml:brushProperty name="width" value="0.05" units="cm"/>
      <inkml:brushProperty name="height" value="0.3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8E0B5C-C86C-41AE-BCCD-4122CD970861}" type="datetimeFigureOut">
              <a:rPr lang="en-GB" smtClean="0"/>
              <a:t>30/06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35FBD-136E-41AA-9EF2-01C2E61829F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72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image" Target="../media/image16.png"/><Relationship Id="rId4" Type="http://schemas.openxmlformats.org/officeDocument/2006/relationships/image" Target="../media/image9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6.png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17.png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5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image" Target="../media/image18.emf"/><Relationship Id="rId4" Type="http://schemas.openxmlformats.org/officeDocument/2006/relationships/tags" Target="../tags/tag63.xml"/><Relationship Id="rId9" Type="http://schemas.openxmlformats.org/officeDocument/2006/relationships/oleObject" Target="../embeddings/oleObject12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image" Target="../media/image18.emf"/><Relationship Id="rId4" Type="http://schemas.openxmlformats.org/officeDocument/2006/relationships/tags" Target="../tags/tag70.xml"/><Relationship Id="rId9" Type="http://schemas.openxmlformats.org/officeDocument/2006/relationships/oleObject" Target="../embeddings/oleObject1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389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F65F532-6364-4338-88EE-DC71774BB854}"/>
              </a:ext>
            </a:extLst>
          </p:cNvPr>
          <p:cNvGrpSpPr/>
          <p:nvPr userDrawn="1"/>
        </p:nvGrpSpPr>
        <p:grpSpPr>
          <a:xfrm>
            <a:off x="-1" y="3175"/>
            <a:ext cx="12192001" cy="6858000"/>
            <a:chOff x="-1" y="112631"/>
            <a:chExt cx="12014015" cy="6757884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39F3E0D-F3CB-4D56-8E05-6DC96DFED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112631"/>
              <a:ext cx="12014015" cy="6757884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17AEA27-BCF7-434B-9389-61CDDC6B04C5}"/>
                </a:ext>
              </a:extLst>
            </p:cNvPr>
            <p:cNvSpPr/>
            <p:nvPr/>
          </p:nvSpPr>
          <p:spPr>
            <a:xfrm>
              <a:off x="-1" y="112631"/>
              <a:ext cx="9448801" cy="6757884"/>
            </a:xfrm>
            <a:prstGeom prst="rect">
              <a:avLst/>
            </a:prstGeom>
            <a:gradFill>
              <a:gsLst>
                <a:gs pos="100000">
                  <a:schemeClr val="bg2">
                    <a:lumMod val="10000"/>
                    <a:alpha val="0"/>
                  </a:schemeClr>
                </a:gs>
                <a:gs pos="13000">
                  <a:schemeClr val="bg2">
                    <a:lumMod val="10000"/>
                  </a:schemeClr>
                </a:gs>
              </a:gsLst>
              <a:lin ang="0" scaled="0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200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22" name="Subtitle 2">
            <a:extLst>
              <a:ext uri="{FF2B5EF4-FFF2-40B4-BE49-F238E27FC236}">
                <a16:creationId xmlns:a16="http://schemas.microsoft.com/office/drawing/2014/main" id="{ED7DCF0B-88B2-48D0-8E38-AAC599D20F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26" y="5321539"/>
            <a:ext cx="6685782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en-US" sz="24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buClr>
                <a:srgbClr val="DA291C"/>
              </a:buClr>
              <a:buNone/>
            </a:pPr>
            <a:r>
              <a:rPr lang="en-GB" sz="2400"/>
              <a:t>Subtitl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B651114E-7058-4A6C-A635-336EDF320F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3426" y="1712075"/>
            <a:ext cx="6685782" cy="3138423"/>
          </a:xfrm>
        </p:spPr>
        <p:txBody>
          <a:bodyPr vert="horz" lIns="0" tIns="0" rIns="0" bIns="0" rtlCol="0" anchor="b" anchorCtr="0">
            <a:normAutofit/>
          </a:bodyPr>
          <a:lstStyle>
            <a:lvl1pPr rtl="0">
              <a:defRPr lang="en-US" sz="6000" dirty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>
              <a:lnSpc>
                <a:spcPct val="93000"/>
              </a:lnSpc>
            </a:pPr>
            <a:br>
              <a:rPr lang="en-GB" sz="6000"/>
            </a:br>
            <a:r>
              <a:rPr lang="en-GB" sz="6000"/>
              <a:t>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C6ADD8-A129-46A9-93ED-7D2377341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426" y="6033671"/>
            <a:ext cx="6685782" cy="327148"/>
          </a:xfrm>
          <a:noFill/>
        </p:spPr>
        <p:txBody>
          <a:bodyPr vert="horz" lIns="0" tIns="0" rIns="0" bIns="0" rtlCol="0" anchor="ctr">
            <a:noAutofit/>
          </a:bodyPr>
          <a:lstStyle>
            <a:lvl1pPr rtl="0">
              <a:defRPr lang="en-US" sz="1800" b="1" cap="all" baseline="0" dirty="0">
                <a:solidFill>
                  <a:srgbClr val="FFFFFF"/>
                </a:solidFill>
                <a:latin typeface="+mn-lt"/>
              </a:defRPr>
            </a:lvl1pPr>
          </a:lstStyle>
          <a:p>
            <a:pPr lvl="0">
              <a:buNone/>
            </a:pPr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9303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559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7073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3000">
                <a:solidFill>
                  <a:srgbClr val="DA202A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7887246-C487-4E1B-B48A-D3165EBAE7DA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6316D83F-2A0A-299E-C72C-1AEF535A6E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56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753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637073" y="541734"/>
            <a:ext cx="6269456" cy="420413"/>
          </a:xfrm>
        </p:spPr>
        <p:txBody>
          <a:bodyPr vert="horz"/>
          <a:lstStyle>
            <a:lvl1pPr rtl="0">
              <a:lnSpc>
                <a:spcPct val="80000"/>
              </a:lnSpc>
              <a:defRPr>
                <a:latin typeface="+mn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D807C06-DE26-4B35-B85C-8299CEF88862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2F24987B-0248-1A71-16F8-4B6BBDFEA0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100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7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637074" y="541734"/>
            <a:ext cx="8094511" cy="420413"/>
          </a:xfrm>
        </p:spPr>
        <p:txBody>
          <a:bodyPr vert="horz"/>
          <a:lstStyle>
            <a:lvl1pPr rtl="0">
              <a:lnSpc>
                <a:spcPct val="80000"/>
              </a:lnSpc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68CF64-5AF3-44EB-B71F-E5CFABA34A0C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C0CAC2C1-DB6A-8195-16D2-BEB700DDE5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44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84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7073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3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3871FB-54D7-474A-9398-6E82E74CC097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1B25FC36-7E64-6E1D-1E84-68AF41CC71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45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254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 rtl="0">
              <a:defRPr sz="1800" baseline="0"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7073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 rtl="0">
              <a:defRPr sz="4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DF8717A-C7AC-4077-B021-9171FA343D40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37EB75D3-A8A4-88C1-80E0-B98F4064EE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00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207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 rtl="0">
              <a:defRPr sz="160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7073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4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86470C-D300-4829-B1CD-0007CAD0D984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8D762769-C1B3-3C77-34C9-8956D451EB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070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453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637073" y="2764203"/>
            <a:ext cx="2478638" cy="1314311"/>
          </a:xfrm>
        </p:spPr>
        <p:txBody>
          <a:bodyPr vert="horz" anchor="ctr" anchorCtr="0">
            <a:noAutofit/>
          </a:bodyPr>
          <a:lstStyle>
            <a:lvl1pPr rtl="0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46C540E-5776-4A5C-A93B-03603B6B9D80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EF078E8D-7FA8-A176-3EF7-FEE32C932A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7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705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DA202A"/>
              </a:gs>
              <a:gs pos="100000">
                <a:srgbClr val="A3171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7073" y="2764203"/>
            <a:ext cx="2478638" cy="1314311"/>
          </a:xfrm>
        </p:spPr>
        <p:txBody>
          <a:bodyPr vert="horz" anchor="ctr" anchorCtr="0">
            <a:noAutofit/>
          </a:bodyPr>
          <a:lstStyle>
            <a:lvl1pPr rtl="0"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B97A0A0-7455-4052-8605-E1C81A04B079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517ECB7A-C59A-B9C7-DCB7-8CD43FB3AB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858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30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7073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4400" b="1">
                <a:solidFill>
                  <a:srgbClr val="DA202A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AB2C053A-E191-4F31-B921-6898DE7BDEF6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3CC0C20C-A9AB-E545-A455-503E370056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543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646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DA202A"/>
              </a:gs>
              <a:gs pos="100000">
                <a:srgbClr val="A3171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b="1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7073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4400" b="1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841A0E5-37E3-4DA9-9889-DCF9482FC71A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7DC0A76B-8B15-2820-DC29-B47C8E4F1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126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Title pag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983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red mailbox on the side of a road&#10;&#10;Description automatically generated with low confidence">
            <a:extLst>
              <a:ext uri="{FF2B5EF4-FFF2-40B4-BE49-F238E27FC236}">
                <a16:creationId xmlns:a16="http://schemas.microsoft.com/office/drawing/2014/main" id="{FB286977-762B-0649-EA2B-276BC4E1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/>
        </p:nvSpPr>
        <p:spPr>
          <a:xfrm>
            <a:off x="0" y="0"/>
            <a:ext cx="9588783" cy="6858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D7DCF0B-88B2-48D0-8E38-AAC599D20F4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63426" y="5321539"/>
            <a:ext cx="6685782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en-US" sz="24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buClr>
                <a:srgbClr val="DA291C"/>
              </a:buClr>
              <a:buNone/>
            </a:pPr>
            <a:r>
              <a:rPr lang="en-GB" sz="2400"/>
              <a:t>Subtitl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B651114E-7058-4A6C-A635-336EDF320F0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63426" y="1712075"/>
            <a:ext cx="6685782" cy="3138423"/>
          </a:xfrm>
        </p:spPr>
        <p:txBody>
          <a:bodyPr vert="horz" lIns="0" tIns="0" rIns="0" bIns="0" rtlCol="0" anchor="b" anchorCtr="0">
            <a:normAutofit/>
          </a:bodyPr>
          <a:lstStyle>
            <a:lvl1pPr rtl="0">
              <a:defRPr lang="en-US" sz="6000" dirty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>
              <a:lnSpc>
                <a:spcPct val="93000"/>
              </a:lnSpc>
            </a:pPr>
            <a:br>
              <a:rPr lang="en-GB" sz="6000"/>
            </a:br>
            <a:r>
              <a:rPr lang="en-GB" sz="6000"/>
              <a:t>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3E6175-CCEF-4D3C-A9C6-24D79A8AE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426" y="6033671"/>
            <a:ext cx="6685782" cy="327148"/>
          </a:xfrm>
          <a:noFill/>
        </p:spPr>
        <p:txBody>
          <a:bodyPr vert="horz" lIns="0" tIns="0" rIns="0" bIns="0" rtlCol="0" anchor="ctr">
            <a:noAutofit/>
          </a:bodyPr>
          <a:lstStyle>
            <a:lvl1pPr rtl="0">
              <a:defRPr lang="en-US" sz="1800" b="1" cap="all" baseline="0" dirty="0">
                <a:solidFill>
                  <a:srgbClr val="FFFFFF"/>
                </a:solidFill>
                <a:latin typeface="+mn-lt"/>
              </a:defRPr>
            </a:lvl1pPr>
          </a:lstStyle>
          <a:p>
            <a:pPr lvl="0">
              <a:buNone/>
            </a:pPr>
            <a:r>
              <a:rPr lang="en-GB"/>
              <a:t>Date</a:t>
            </a:r>
          </a:p>
        </p:txBody>
      </p:sp>
      <p:pic>
        <p:nvPicPr>
          <p:cNvPr id="6" name="Picture 2" descr="My image...">
            <a:extLst>
              <a:ext uri="{FF2B5EF4-FFF2-40B4-BE49-F238E27FC236}">
                <a16:creationId xmlns:a16="http://schemas.microsoft.com/office/drawing/2014/main" id="{B7C665B0-2D40-DACC-0E6C-EBA61F76FE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994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662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637074" y="541734"/>
            <a:ext cx="4740749" cy="420413"/>
          </a:xfrm>
        </p:spPr>
        <p:txBody>
          <a:bodyPr vert="horz"/>
          <a:lstStyle>
            <a:lvl1pPr rtl="0">
              <a:lnSpc>
                <a:spcPct val="80000"/>
              </a:lnSpc>
              <a:defRPr>
                <a:latin typeface="+mn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A66FB8F-1054-464B-9B0E-21095AD38C17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29A138A6-6C0C-981A-8274-89171B6588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6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617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DA202A"/>
              </a:gs>
              <a:gs pos="100000">
                <a:srgbClr val="A3171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7074" y="541734"/>
            <a:ext cx="4740749" cy="420413"/>
          </a:xfrm>
        </p:spPr>
        <p:txBody>
          <a:bodyPr vert="horz"/>
          <a:lstStyle>
            <a:lvl1pPr rtl="0">
              <a:lnSpc>
                <a:spcPct val="8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9DD536-F184-4899-89AB-D19AC20CA321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3565512F-8B79-C805-7CE2-0D76D99CA1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656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021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637074" y="541734"/>
            <a:ext cx="6247423" cy="420413"/>
          </a:xfrm>
        </p:spPr>
        <p:txBody>
          <a:bodyPr vert="horz"/>
          <a:lstStyle>
            <a:lvl1pPr rtl="0">
              <a:lnSpc>
                <a:spcPct val="80000"/>
              </a:lnSpc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0A2CDC-5F8D-464B-A658-388119BE2F58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62421B4F-71CD-76B1-DB1A-5D9D89B4FE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5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645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DA202A"/>
              </a:gs>
              <a:gs pos="100000">
                <a:srgbClr val="A3171F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637074" y="541734"/>
            <a:ext cx="6247423" cy="420413"/>
          </a:xfrm>
        </p:spPr>
        <p:txBody>
          <a:bodyPr vert="horz"/>
          <a:lstStyle>
            <a:lvl1pPr rtl="0">
              <a:lnSpc>
                <a:spcPct val="8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F3A960-3D6A-42DE-ABD8-E922878417A9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6C761795-55D3-4320-511E-A858F95007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930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746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7073" y="3826333"/>
            <a:ext cx="10883356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big statement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B133128-8D33-4DF0-81EF-943C34641860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AADCBE69-AB9B-9D65-134A-8CA9B1C710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57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75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7073" y="625475"/>
            <a:ext cx="932688" cy="932688"/>
          </a:xfrm>
          <a:prstGeom prst="rect">
            <a:avLst/>
          </a:prstGeom>
          <a:noFill/>
          <a:ln>
            <a:solidFill>
              <a:srgbClr val="EB76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7073" y="3826333"/>
            <a:ext cx="10883356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B767D"/>
                </a:solidFill>
                <a:latin typeface="+mn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big statement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54D155-8C58-4F08-9E8C-92AAE87080D1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CB011C20-848D-4373-DA3B-62ECB18A84D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200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6D0F1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99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DA202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GB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15365-7F6B-4ADA-9EC8-D6444B46CDEE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E8520032-E72B-F1A3-251D-1C583E1B0D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98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683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5EFD9FD-768C-49B3-BC10-BCC05FEE3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73" y="541734"/>
            <a:ext cx="10883356" cy="4204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CC96A68-B62E-4A89-950F-87A740404319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434EB80D-7E1E-8519-7B92-8585455243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950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629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GB" sz="5400" b="1" dirty="0">
                <a:solidFill>
                  <a:srgbClr val="DA202A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8C1F582-8A27-4228-A428-7B9B70E525A8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BEE5E459-33BD-4AA7-9E84-0C63C2886E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91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30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545861-644C-431E-AC28-E271D724DC78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718E5034-5BC7-8440-26C3-5C8EAE42B9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49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Title pag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49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5" name="Picture 5">
            <a:extLst>
              <a:ext uri="{FF2B5EF4-FFF2-40B4-BE49-F238E27FC236}">
                <a16:creationId xmlns:a16="http://schemas.microsoft.com/office/drawing/2014/main" id="{B039F83B-72B1-3445-5C5A-AE1165BFA0C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908"/>
            <a:ext cx="12191999" cy="6858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/>
        </p:nvSpPr>
        <p:spPr>
          <a:xfrm>
            <a:off x="1" y="-908"/>
            <a:ext cx="9588783" cy="6857999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D7DCF0B-88B2-48D0-8E38-AAC599D20F4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63426" y="5321539"/>
            <a:ext cx="6685782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en-US" sz="24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buClr>
                <a:srgbClr val="DA291C"/>
              </a:buClr>
              <a:buNone/>
            </a:pPr>
            <a:r>
              <a:rPr lang="en-GB" sz="2400"/>
              <a:t>Subtitl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B651114E-7058-4A6C-A635-336EDF320F0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63426" y="1712075"/>
            <a:ext cx="6685782" cy="3138423"/>
          </a:xfrm>
        </p:spPr>
        <p:txBody>
          <a:bodyPr vert="horz" lIns="0" tIns="0" rIns="0" bIns="0" rtlCol="0" anchor="b" anchorCtr="0">
            <a:normAutofit/>
          </a:bodyPr>
          <a:lstStyle>
            <a:lvl1pPr rtl="0">
              <a:defRPr lang="en-US" sz="6000" dirty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>
              <a:lnSpc>
                <a:spcPct val="93000"/>
              </a:lnSpc>
            </a:pPr>
            <a:br>
              <a:rPr lang="en-GB" sz="6000"/>
            </a:br>
            <a:r>
              <a:rPr lang="en-GB" sz="6000"/>
              <a:t>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72776DD-7103-428D-A3D8-E56DC671CB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426" y="6033671"/>
            <a:ext cx="6685782" cy="327148"/>
          </a:xfrm>
          <a:noFill/>
        </p:spPr>
        <p:txBody>
          <a:bodyPr vert="horz" lIns="0" tIns="0" rIns="0" bIns="0" rtlCol="0" anchor="ctr">
            <a:noAutofit/>
          </a:bodyPr>
          <a:lstStyle>
            <a:lvl1pPr rtl="0">
              <a:defRPr lang="en-US" sz="1800" b="1" cap="all" baseline="0" dirty="0">
                <a:solidFill>
                  <a:srgbClr val="FFFFFF"/>
                </a:solidFill>
                <a:latin typeface="+mn-lt"/>
              </a:defRPr>
            </a:lvl1pPr>
          </a:lstStyle>
          <a:p>
            <a:pPr lvl="0">
              <a:buNone/>
            </a:pPr>
            <a:r>
              <a:rPr lang="en-GB"/>
              <a:t>Date</a:t>
            </a:r>
          </a:p>
        </p:txBody>
      </p:sp>
      <p:pic>
        <p:nvPicPr>
          <p:cNvPr id="7" name="Picture 2" descr="My image...">
            <a:extLst>
              <a:ext uri="{FF2B5EF4-FFF2-40B4-BE49-F238E27FC236}">
                <a16:creationId xmlns:a16="http://schemas.microsoft.com/office/drawing/2014/main" id="{AF814926-33C0-BB83-950F-6F76AFCC60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4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78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B20380-1B9D-417A-907B-DA5056EEF4C1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1603830C-C16F-F0D4-B161-0F6D95E83F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33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44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BA7CFF-F6BB-4039-BAEE-79F5C74F7A02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F28EC700-678F-45B7-CE61-DB33CF826E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725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5B52FE7-ECC3-4639-8A7E-176F522DF425}"/>
              </a:ext>
            </a:extLst>
          </p:cNvPr>
          <p:cNvGrpSpPr/>
          <p:nvPr userDrawn="1"/>
        </p:nvGrpSpPr>
        <p:grpSpPr>
          <a:xfrm>
            <a:off x="-1" y="3175"/>
            <a:ext cx="12192001" cy="6858000"/>
            <a:chOff x="-1" y="112631"/>
            <a:chExt cx="12014015" cy="675788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B558AFD-FE5D-42E7-A172-897E693AB9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112631"/>
              <a:ext cx="12014015" cy="6757884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CFFAA4B-A8EF-42EF-AD01-4C80F88067EB}"/>
                </a:ext>
              </a:extLst>
            </p:cNvPr>
            <p:cNvSpPr/>
            <p:nvPr/>
          </p:nvSpPr>
          <p:spPr>
            <a:xfrm>
              <a:off x="-1" y="112631"/>
              <a:ext cx="9448801" cy="6757884"/>
            </a:xfrm>
            <a:prstGeom prst="rect">
              <a:avLst/>
            </a:prstGeom>
            <a:gradFill>
              <a:gsLst>
                <a:gs pos="100000">
                  <a:schemeClr val="bg2">
                    <a:lumMod val="10000"/>
                    <a:alpha val="0"/>
                  </a:schemeClr>
                </a:gs>
                <a:gs pos="13000">
                  <a:schemeClr val="bg2">
                    <a:lumMod val="10000"/>
                  </a:schemeClr>
                </a:gs>
              </a:gsLst>
              <a:lin ang="0" scaled="0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2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51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End pag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14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red mailbox on the side of a road&#10;&#10;Description automatically generated with low confidence">
            <a:extLst>
              <a:ext uri="{FF2B5EF4-FFF2-40B4-BE49-F238E27FC236}">
                <a16:creationId xmlns:a16="http://schemas.microsoft.com/office/drawing/2014/main" id="{FB286977-762B-0649-EA2B-276BC4E1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/>
        </p:nvSpPr>
        <p:spPr>
          <a:xfrm>
            <a:off x="0" y="0"/>
            <a:ext cx="9588783" cy="6858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6" name="Picture 2" descr="My image...">
            <a:extLst>
              <a:ext uri="{FF2B5EF4-FFF2-40B4-BE49-F238E27FC236}">
                <a16:creationId xmlns:a16="http://schemas.microsoft.com/office/drawing/2014/main" id="{302AF5BB-6C1F-7BCB-B466-16416DF1F4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126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End pag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14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5" name="Picture 5">
            <a:extLst>
              <a:ext uri="{FF2B5EF4-FFF2-40B4-BE49-F238E27FC236}">
                <a16:creationId xmlns:a16="http://schemas.microsoft.com/office/drawing/2014/main" id="{B039F83B-72B1-3445-5C5A-AE1165BFA0C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908"/>
            <a:ext cx="12191999" cy="6858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/>
        </p:nvSpPr>
        <p:spPr>
          <a:xfrm>
            <a:off x="1" y="-908"/>
            <a:ext cx="9588783" cy="6857999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6" name="Picture 2" descr="My image...">
            <a:extLst>
              <a:ext uri="{FF2B5EF4-FFF2-40B4-BE49-F238E27FC236}">
                <a16:creationId xmlns:a16="http://schemas.microsoft.com/office/drawing/2014/main" id="{4008E715-C380-A531-1D6B-58E2FDD3FC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02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End pag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88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9A8DFBC-0713-D7EF-F19A-8E71FA0241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 userDrawn="1"/>
        </p:nvSpPr>
        <p:spPr>
          <a:xfrm>
            <a:off x="0" y="1"/>
            <a:ext cx="9588783" cy="6858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6" name="Picture 2" descr="My image...">
            <a:extLst>
              <a:ext uri="{FF2B5EF4-FFF2-40B4-BE49-F238E27FC236}">
                <a16:creationId xmlns:a16="http://schemas.microsoft.com/office/drawing/2014/main" id="{23ECAFE8-4BFB-69FA-FC6E-137E3978CB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70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910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9EC10-433F-4A14-B47F-8F6F077454AA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73608" y="6263973"/>
              <a:ext cx="10844784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73608" y="1497600"/>
              <a:ext cx="10844784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GB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73608" y="2080802"/>
              <a:ext cx="10844784" cy="38410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>
                <a:lnSpc>
                  <a:spcPct val="90000"/>
                </a:lnSpc>
                <a:spcAft>
                  <a:spcPts val="1000"/>
                </a:spcAft>
              </a:pPr>
              <a:endParaRPr lang="en-GB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62831" y="6238215"/>
              <a:ext cx="985921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101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486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GB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GB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GB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4582" y="1115416"/>
            <a:ext cx="235891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5400" b="1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BF9AE1-28DA-4C51-8A20-A10B8DFDD61F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Picture 2" descr="My image...">
            <a:extLst>
              <a:ext uri="{FF2B5EF4-FFF2-40B4-BE49-F238E27FC236}">
                <a16:creationId xmlns:a16="http://schemas.microsoft.com/office/drawing/2014/main" id="{EB9A31B7-F34D-EE46-DF18-6EB29DA69F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538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746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GB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F6482AB-D29E-453E-A6B5-08FA1AE29336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F2BF818E-5873-A016-8D00-262639ADE8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771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461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en-GB" sz="3000" b="1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2A12BEC-0C5A-45D8-B013-CA21DB07437B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84E1A6C9-DD89-5FFE-CBAB-AC6A4744E5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25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Title pag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6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9A8DFBC-0713-D7EF-F19A-8E71FA0241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17AEA27-BCF7-434B-9389-61CDDC6B04C5}"/>
              </a:ext>
            </a:extLst>
          </p:cNvPr>
          <p:cNvSpPr/>
          <p:nvPr userDrawn="1"/>
        </p:nvSpPr>
        <p:spPr>
          <a:xfrm>
            <a:off x="0" y="1"/>
            <a:ext cx="9588783" cy="6858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0"/>
                </a:schemeClr>
              </a:gs>
              <a:gs pos="13000">
                <a:schemeClr val="bg2">
                  <a:lumMod val="10000"/>
                </a:schemeClr>
              </a:gs>
            </a:gsLst>
            <a:lin ang="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D7DCF0B-88B2-48D0-8E38-AAC599D20F4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63426" y="5321539"/>
            <a:ext cx="6685782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en-US" sz="24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buClr>
                <a:srgbClr val="DA291C"/>
              </a:buClr>
              <a:buNone/>
            </a:pPr>
            <a:r>
              <a:rPr lang="en-GB" sz="2400"/>
              <a:t>Subtitl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B651114E-7058-4A6C-A635-336EDF320F0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63426" y="1712075"/>
            <a:ext cx="6685782" cy="3138423"/>
          </a:xfrm>
        </p:spPr>
        <p:txBody>
          <a:bodyPr vert="horz" lIns="0" tIns="0" rIns="0" bIns="0" rtlCol="0" anchor="b" anchorCtr="0">
            <a:normAutofit/>
          </a:bodyPr>
          <a:lstStyle>
            <a:lvl1pPr rtl="0">
              <a:defRPr lang="en-US" sz="6000" dirty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>
              <a:lnSpc>
                <a:spcPct val="93000"/>
              </a:lnSpc>
            </a:pPr>
            <a:br>
              <a:rPr lang="en-GB" sz="6000"/>
            </a:br>
            <a:r>
              <a:rPr lang="en-GB" sz="6000"/>
              <a:t>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329443-9687-4568-8EC3-2F31CDC375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426" y="6033671"/>
            <a:ext cx="6685782" cy="327148"/>
          </a:xfrm>
          <a:noFill/>
        </p:spPr>
        <p:txBody>
          <a:bodyPr vert="horz" lIns="0" tIns="0" rIns="0" bIns="0" rtlCol="0" anchor="ctr">
            <a:noAutofit/>
          </a:bodyPr>
          <a:lstStyle>
            <a:lvl1pPr rtl="0">
              <a:defRPr lang="en-US" sz="1800" b="1" cap="all" baseline="0" dirty="0">
                <a:solidFill>
                  <a:srgbClr val="FFFFFF"/>
                </a:solidFill>
                <a:latin typeface="+mn-lt"/>
              </a:defRPr>
            </a:lvl1pPr>
          </a:lstStyle>
          <a:p>
            <a:pPr lvl="0">
              <a:buNone/>
            </a:pPr>
            <a:r>
              <a:rPr lang="en-GB"/>
              <a:t>Date</a:t>
            </a:r>
          </a:p>
        </p:txBody>
      </p:sp>
      <p:pic>
        <p:nvPicPr>
          <p:cNvPr id="6" name="Picture 2" descr="My image...">
            <a:extLst>
              <a:ext uri="{FF2B5EF4-FFF2-40B4-BE49-F238E27FC236}">
                <a16:creationId xmlns:a16="http://schemas.microsoft.com/office/drawing/2014/main" id="{4CDF98CA-AEBD-1FAD-7E8B-575736C38E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5291" y="-158374"/>
            <a:ext cx="2416709" cy="186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38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306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EB767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GB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EB767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GB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EB767D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GB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4582" y="1115416"/>
            <a:ext cx="235891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rtl="0"/>
            <a:r>
              <a:rPr lang="en-GB" b="1" dirty="0">
                <a:solidFill>
                  <a:srgbClr val="EB767D"/>
                </a:solidFill>
                <a:latin typeface="+mn-lt"/>
              </a:rPr>
              <a:t>Age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8EDCC9-3B63-4B83-9CE9-E54B6057D8EF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2B8C7562-5BCD-DBA5-0573-5A34466828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039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12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EB767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EB767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GB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769268-5A48-44A9-A819-236EB4783DAB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3" name="Picture 2" descr="My image...">
            <a:extLst>
              <a:ext uri="{FF2B5EF4-FFF2-40B4-BE49-F238E27FC236}">
                <a16:creationId xmlns:a16="http://schemas.microsoft.com/office/drawing/2014/main" id="{812A3FED-7A3D-FB36-FCA1-C27EB5D54C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060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455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en-GB" sz="3000" b="1" dirty="0">
                <a:solidFill>
                  <a:srgbClr val="EB767D"/>
                </a:solidFill>
                <a:latin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EB767D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329EB0E-6A59-4F7C-94D3-CE86399DD4CF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D42331D8-2A2D-8A23-58CE-CC987B3C4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234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849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07715"/>
            <a:ext cx="1465500" cy="4154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GB" sz="3000" b="1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8CA7D2-81BE-48B3-AD0A-5874D0066AB7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2CC4D9B5-8D04-E903-BD09-FCBF2BDF15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652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DA202A"/>
            </a:gs>
            <a:gs pos="100000">
              <a:srgbClr val="A3171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847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GB" sz="5400" b="1" dirty="0">
                <a:solidFill>
                  <a:schemeClr val="accent1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5DF38F3-1984-4937-AB3A-3555F1324ADA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olidFill>
                  <a:schemeClr val="bg1"/>
                </a:solidFill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0FB64793-78AD-8E4E-A170-7909DA0129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514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66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55473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909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9306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66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4909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4974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871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110825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5473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6"/>
            </p:custDataLst>
          </p:nvPr>
        </p:nvSpPr>
        <p:spPr bwMode="gray">
          <a:xfrm>
            <a:off x="554736" y="172212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1271F179-9833-5D6C-9961-100A9355FF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909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660580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D4F6E-9D73-EF52-5596-5E27E4894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321168-E60B-9864-7773-E830470AB1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40E55-35BF-19C8-E637-2210EF4A3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226DE-4F5A-4A86-9A4D-022E1620D959}" type="datetimeFigureOut">
              <a:rPr lang="en-GB" smtClean="0"/>
              <a:t>30/06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2BCCFC-6427-A07C-DAF4-8D75CADA3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ACA4D7-D16B-38C4-3509-AD1CB1120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61B2A-A01A-46E8-859B-9C766B61729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7722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6684" y="280800"/>
            <a:ext cx="11076517" cy="988652"/>
          </a:xfrm>
        </p:spPr>
        <p:txBody>
          <a:bodyPr/>
          <a:lstStyle>
            <a:lvl1pPr>
              <a:defRPr b="0">
                <a:latin typeface="RM First Class Inline" panose="04020805020B03030202" pitchFamily="8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686" y="1441585"/>
            <a:ext cx="11076516" cy="443534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186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2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43667B1-412C-4953-81C3-07917F31B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73" y="541734"/>
            <a:ext cx="10883356" cy="420413"/>
          </a:xfrm>
        </p:spPr>
        <p:txBody>
          <a:bodyPr vert="horz" lIns="0" tIns="0" rIns="0" bIns="0" rtlCol="0" anchor="t" anchorCtr="0">
            <a:noAutofit/>
          </a:bodyPr>
          <a:lstStyle>
            <a:lvl1pPr rtl="0">
              <a:defRPr lang="en-US" dirty="0">
                <a:latin typeface="+mn-lt"/>
                <a:cs typeface="Calibri" panose="020F0502020204030204" pitchFamily="34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9806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60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3608" y="1507068"/>
            <a:ext cx="10844784" cy="4414761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E9A54FF-3059-4DE4-A9F2-93199D98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73" y="541734"/>
            <a:ext cx="10883356" cy="4204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9062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35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-1" y="-1"/>
            <a:ext cx="12192000" cy="685800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A202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7073" y="2158987"/>
            <a:ext cx="3736927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buNone/>
              <a:defRPr sz="1600" b="1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7073" y="1227048"/>
            <a:ext cx="3736927" cy="664797"/>
          </a:xfrm>
        </p:spPr>
        <p:txBody>
          <a:bodyPr vert="horz" anchor="t">
            <a:noAutofit/>
          </a:bodyPr>
          <a:lstStyle>
            <a:lvl1pPr rtl="0">
              <a:lnSpc>
                <a:spcPct val="80000"/>
              </a:lnSpc>
              <a:defRPr sz="3000">
                <a:solidFill>
                  <a:srgbClr val="DA202A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E257A9-AE18-484E-B2AD-8ABC9F432F8E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5" name="Picture 2" descr="My image...">
            <a:extLst>
              <a:ext uri="{FF2B5EF4-FFF2-40B4-BE49-F238E27FC236}">
                <a16:creationId xmlns:a16="http://schemas.microsoft.com/office/drawing/2014/main" id="{05D46D05-54D8-0E37-8B0C-CEFD04B59F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311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226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GB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DA202A"/>
                </a:solidFill>
                <a:latin typeface="+mn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EB767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A8BEAEC-E233-42A9-8873-D148E5DAB338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C2366555-D55C-33A1-6EA7-D370FE46B6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72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48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7073" y="3826800"/>
            <a:ext cx="10883356" cy="2041200"/>
          </a:xfrm>
        </p:spPr>
        <p:txBody>
          <a:bodyPr vert="horz" anchor="t">
            <a:noAutofit/>
          </a:bodyPr>
          <a:lstStyle>
            <a:lvl1pPr rtl="0">
              <a:defRPr sz="5400">
                <a:solidFill>
                  <a:srgbClr val="DA202A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7073" y="3680016"/>
            <a:ext cx="11551514" cy="0"/>
          </a:xfrm>
          <a:prstGeom prst="line">
            <a:avLst/>
          </a:prstGeom>
          <a:ln w="19050" cmpd="sng">
            <a:solidFill>
              <a:srgbClr val="EB767D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75E2881-D630-4EC2-B85D-6E9D1BC122D3}"/>
              </a:ext>
            </a:extLst>
          </p:cNvPr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pic>
        <p:nvPicPr>
          <p:cNvPr id="4" name="Picture 2" descr="My image...">
            <a:extLst>
              <a:ext uri="{FF2B5EF4-FFF2-40B4-BE49-F238E27FC236}">
                <a16:creationId xmlns:a16="http://schemas.microsoft.com/office/drawing/2014/main" id="{E1A7597B-1ACE-BDBA-8B7F-B80B4CEE70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735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222187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02905E-02FA-43D5-8ED9-330D83209E4E}"/>
              </a:ext>
            </a:extLst>
          </p:cNvPr>
          <p:cNvCxnSpPr/>
          <p:nvPr userDrawn="1"/>
        </p:nvCxnSpPr>
        <p:spPr>
          <a:xfrm>
            <a:off x="659372" y="6159090"/>
            <a:ext cx="108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10932707" y="6412847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lvl="0" algn="r" rtl="0"/>
            <a:fld id="{DFCF27A5-1A5B-48D3-A060-2758FFBB1ADD}" type="slidenum">
              <a:rPr lang="en-GB" smtClean="0">
                <a:sym typeface="Trebuchet MS" panose="020B0603020202020204" pitchFamily="34" charset="0"/>
              </a:rPr>
              <a:pPr lvl="0" algn="r" rtl="0"/>
              <a:t>‹#›</a:t>
            </a:fld>
            <a:endParaRPr lang="en-GB" dirty="0"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7073" y="541734"/>
            <a:ext cx="10048344" cy="4204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fontAlgn="auto">
              <a:lnSpc>
                <a:spcPct val="8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GB"/>
              <a:t>Click to add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081FE53-34C2-459C-8306-63B1ED1B98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08" y="1507068"/>
            <a:ext cx="10844784" cy="44147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Level six</a:t>
            </a:r>
          </a:p>
          <a:p>
            <a:pPr lvl="6"/>
            <a:r>
              <a:rPr lang="en-GB"/>
              <a:t>Level seven</a:t>
            </a:r>
          </a:p>
          <a:p>
            <a:pPr lvl="7"/>
            <a:r>
              <a:rPr lang="en-GB"/>
              <a:t>Level eight</a:t>
            </a:r>
          </a:p>
          <a:p>
            <a:pPr lvl="8"/>
            <a:r>
              <a:rPr lang="en-GB"/>
              <a:t>Level n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ECE1A-E5EC-496D-9D42-7EA7FD100C4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15100"/>
            <a:ext cx="13525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: RMG – Internal</a:t>
            </a:r>
          </a:p>
        </p:txBody>
      </p:sp>
      <p:pic>
        <p:nvPicPr>
          <p:cNvPr id="5" name="Picture 2" descr="My image...">
            <a:extLst>
              <a:ext uri="{FF2B5EF4-FFF2-40B4-BE49-F238E27FC236}">
                <a16:creationId xmlns:a16="http://schemas.microsoft.com/office/drawing/2014/main" id="{5F6B3EC1-D44D-1782-90FB-024E80A58C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976" y="230540"/>
            <a:ext cx="1299012" cy="100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2605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5" r:id="rId38"/>
    <p:sldLayoutId id="2147483706" r:id="rId39"/>
    <p:sldLayoutId id="2147483707" r:id="rId40"/>
    <p:sldLayoutId id="2147483708" r:id="rId41"/>
    <p:sldLayoutId id="2147483709" r:id="rId42"/>
    <p:sldLayoutId id="2147483710" r:id="rId43"/>
    <p:sldLayoutId id="2147483711" r:id="rId44"/>
    <p:sldLayoutId id="2147483712" r:id="rId45"/>
    <p:sldLayoutId id="2147483713" r:id="rId46"/>
    <p:sldLayoutId id="2147483714" r:id="rId47"/>
    <p:sldLayoutId id="2147483715" r:id="rId48"/>
    <p:sldLayoutId id="2147483716" r:id="rId4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400" b="1" i="0" u="none" strike="noStrike" kern="1200" cap="none" spc="0" normalizeH="0" baseline="0" dirty="0">
          <a:ln>
            <a:noFill/>
          </a:ln>
          <a:solidFill>
            <a:srgbClr val="DA202A"/>
          </a:solidFill>
          <a:effectLst/>
          <a:uLnTx/>
          <a:uFillTx/>
          <a:latin typeface="+mn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DA202A"/>
        </a:buClr>
        <a:buFont typeface="Arial" panose="020B0604020202020204" pitchFamily="34" charset="0"/>
        <a:buChar char="​"/>
        <a:defRPr lang="en-US" sz="1200" kern="120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lang="en-US" sz="1200" kern="120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1"/>
        </a:buClr>
        <a:buFont typeface="Calibri" panose="020F0502020204030204" pitchFamily="34" charset="0"/>
        <a:buChar char="‐"/>
        <a:defRPr lang="en-US" sz="1200" kern="120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DA202A"/>
        </a:buClr>
        <a:buFont typeface="Arial" panose="020B0604020202020204" pitchFamily="34" charset="0"/>
        <a:buChar char="​"/>
        <a:defRPr lang="en-US" sz="1600" b="1" kern="1200">
          <a:solidFill>
            <a:srgbClr val="DA202A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DA202A"/>
        </a:buClr>
        <a:buFont typeface="Arial" panose="020B0604020202020204" pitchFamily="34" charset="0"/>
        <a:buChar char="​"/>
        <a:defRPr lang="en-US" sz="1600" b="1" kern="1200" smtClean="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US" sz="1600" kern="1200" smtClean="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DA202A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04044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DA202A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DA202A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DA202A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DA202A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shaun.roberts@royalmail.com" TargetMode="Externa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svg"/><Relationship Id="rId3" Type="http://schemas.openxmlformats.org/officeDocument/2006/relationships/image" Target="../media/image20.svg"/><Relationship Id="rId12" Type="http://schemas.openxmlformats.org/officeDocument/2006/relationships/image" Target="../media/image23.png"/><Relationship Id="rId17" Type="http://schemas.openxmlformats.org/officeDocument/2006/relationships/image" Target="../media/image280.png"/><Relationship Id="rId2" Type="http://schemas.openxmlformats.org/officeDocument/2006/relationships/image" Target="../media/image19.png"/><Relationship Id="rId16" Type="http://schemas.openxmlformats.org/officeDocument/2006/relationships/customXml" Target="../ink/ink4.xml"/><Relationship Id="rId1" Type="http://schemas.openxmlformats.org/officeDocument/2006/relationships/slideLayout" Target="../slideLayouts/slideLayout6.xml"/><Relationship Id="rId6" Type="http://schemas.openxmlformats.org/officeDocument/2006/relationships/customXml" Target="../ink/ink1.xml"/><Relationship Id="rId11" Type="http://schemas.openxmlformats.org/officeDocument/2006/relationships/image" Target="../media/image260.png"/><Relationship Id="rId5" Type="http://schemas.openxmlformats.org/officeDocument/2006/relationships/image" Target="../media/image22.svg"/><Relationship Id="rId15" Type="http://schemas.openxmlformats.org/officeDocument/2006/relationships/image" Target="../media/image270.png"/><Relationship Id="rId10" Type="http://schemas.openxmlformats.org/officeDocument/2006/relationships/customXml" Target="../ink/ink2.xml"/><Relationship Id="rId4" Type="http://schemas.openxmlformats.org/officeDocument/2006/relationships/image" Target="../media/image21.png"/><Relationship Id="rId9" Type="http://schemas.openxmlformats.org/officeDocument/2006/relationships/image" Target="../media/image250.png"/><Relationship Id="rId14" Type="http://schemas.openxmlformats.org/officeDocument/2006/relationships/customXml" Target="../ink/ink3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0.png"/><Relationship Id="rId3" Type="http://schemas.openxmlformats.org/officeDocument/2006/relationships/image" Target="../media/image20.svg"/><Relationship Id="rId12" Type="http://schemas.openxmlformats.org/officeDocument/2006/relationships/customXml" Target="../ink/ink7.xml"/><Relationship Id="rId1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customXml" Target="../ink/ink5.xml"/><Relationship Id="rId11" Type="http://schemas.openxmlformats.org/officeDocument/2006/relationships/image" Target="../media/image30.png"/><Relationship Id="rId5" Type="http://schemas.openxmlformats.org/officeDocument/2006/relationships/image" Target="../media/image22.svg"/><Relationship Id="rId15" Type="http://schemas.openxmlformats.org/officeDocument/2006/relationships/image" Target="../media/image32.png"/><Relationship Id="rId10" Type="http://schemas.openxmlformats.org/officeDocument/2006/relationships/customXml" Target="../ink/ink6.xml"/><Relationship Id="rId4" Type="http://schemas.openxmlformats.org/officeDocument/2006/relationships/image" Target="../media/image21.png"/><Relationship Id="rId9" Type="http://schemas.openxmlformats.org/officeDocument/2006/relationships/image" Target="../media/image290.png"/><Relationship Id="rId14" Type="http://schemas.openxmlformats.org/officeDocument/2006/relationships/customXml" Target="../ink/ink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0.xml"/><Relationship Id="rId13" Type="http://schemas.openxmlformats.org/officeDocument/2006/relationships/image" Target="../media/image36.png"/><Relationship Id="rId3" Type="http://schemas.openxmlformats.org/officeDocument/2006/relationships/image" Target="../media/image20.svg"/><Relationship Id="rId7" Type="http://schemas.openxmlformats.org/officeDocument/2006/relationships/image" Target="../media/image33.png"/><Relationship Id="rId12" Type="http://schemas.openxmlformats.org/officeDocument/2006/relationships/customXml" Target="../ink/ink1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customXml" Target="../ink/ink9.xml"/><Relationship Id="rId11" Type="http://schemas.openxmlformats.org/officeDocument/2006/relationships/image" Target="../media/image35.png"/><Relationship Id="rId5" Type="http://schemas.openxmlformats.org/officeDocument/2006/relationships/image" Target="../media/image22.svg"/><Relationship Id="rId10" Type="http://schemas.openxmlformats.org/officeDocument/2006/relationships/customXml" Target="../ink/ink11.xml"/><Relationship Id="rId4" Type="http://schemas.openxmlformats.org/officeDocument/2006/relationships/image" Target="../media/image21.png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09471-9D66-4B4C-9DBD-CD823B84F5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1419" y="789726"/>
            <a:ext cx="9151950" cy="2104549"/>
          </a:xfrm>
        </p:spPr>
        <p:txBody>
          <a:bodyPr vert="horz" lIns="0" tIns="0" rIns="0" bIns="0" rtlCol="0" anchor="b" anchorCtr="0">
            <a:normAutofit fontScale="90000"/>
          </a:bodyPr>
          <a:lstStyle/>
          <a:p>
            <a:pPr>
              <a:lnSpc>
                <a:spcPct val="93000"/>
              </a:lnSpc>
            </a:pPr>
            <a:r>
              <a:rPr kumimoji="0" lang="en-GB" sz="42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  <a:sym typeface="Trebuchet MS" panose="020B0603020202020204" pitchFamily="34" charset="0"/>
              </a:rPr>
              <a:t>Migrating to Barcoded Products – </a:t>
            </a:r>
            <a:r>
              <a:rPr lang="en-GB" sz="4200" dirty="0"/>
              <a:t>n</a:t>
            </a:r>
            <a:r>
              <a:rPr kumimoji="0" lang="en-GB" sz="42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  <a:sym typeface="Trebuchet MS" panose="020B0603020202020204" pitchFamily="34" charset="0"/>
              </a:rPr>
              <a:t>ext phase</a:t>
            </a:r>
            <a:br>
              <a:rPr kumimoji="0" lang="en-GB" sz="42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  <a:sym typeface="Trebuchet MS" panose="020B0603020202020204" pitchFamily="34" charset="0"/>
              </a:rPr>
            </a:br>
            <a:r>
              <a:rPr lang="en-GB" sz="2800" kern="1200" dirty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We want to hear your views</a:t>
            </a:r>
            <a:br>
              <a:rPr lang="en-GB" sz="1600" kern="1200" dirty="0">
                <a:latin typeface="+mn-lt"/>
                <a:ea typeface="+mn-ea"/>
                <a:cs typeface="+mn-cs"/>
                <a:sym typeface="Trebuchet MS" panose="020B0603020202020204" pitchFamily="34" charset="0"/>
              </a:rPr>
            </a:br>
            <a:endParaRPr kumimoji="0" lang="en-GB" sz="42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5A37E1-B810-43D8-9F02-75CD572E35B6}"/>
              </a:ext>
            </a:extLst>
          </p:cNvPr>
          <p:cNvSpPr txBox="1"/>
          <p:nvPr/>
        </p:nvSpPr>
        <p:spPr>
          <a:xfrm>
            <a:off x="563426" y="6033671"/>
            <a:ext cx="6685782" cy="3271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rm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DA202A"/>
              </a:buClr>
            </a:pPr>
            <a:r>
              <a:rPr lang="en-GB" b="1" cap="all" dirty="0">
                <a:solidFill>
                  <a:srgbClr val="FFFFFF"/>
                </a:solidFill>
                <a:sym typeface="Trebuchet MS" panose="020B0603020202020204" pitchFamily="34" charset="0"/>
              </a:rPr>
              <a:t>July </a:t>
            </a:r>
            <a:r>
              <a:rPr lang="en-GB" b="1" kern="1200" cap="all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259849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30620A-B777-4332-ACAF-9D5B87C013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040" y="1769461"/>
            <a:ext cx="11417860" cy="4414761"/>
          </a:xfrm>
        </p:spPr>
        <p:txBody>
          <a:bodyPr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Does Scenario 1, Scenario 2 and Scenario 3 seem reasonable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. Please provide a separate response for each scenario, including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supporting information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.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Does 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Scenario 1, Scenario 2 and Scenario 3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pose any operational or systems challenges for you, and if so, what support would you need from Royal Mail to overcome them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Do you have any comments regarding the wider migration of remaining non-Mailmark Letters to Mailmark that you think we should take into consideration?</a:t>
            </a:r>
            <a:endParaRPr lang="en-GB" dirty="0">
              <a:solidFill>
                <a:schemeClr val="tx1"/>
              </a:solidFill>
              <a:latin typeface="Aptos" panose="020B0004020202020204" pitchFamily="34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08" y="463571"/>
            <a:ext cx="9651915" cy="1305890"/>
          </a:xfrm>
        </p:spPr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Customer Feedback </a:t>
            </a:r>
            <a:br>
              <a:rPr lang="en-GB" sz="2700" dirty="0">
                <a:latin typeface="Aptos" panose="020B0004020202020204" pitchFamily="34" charset="0"/>
              </a:rPr>
            </a:b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We</a:t>
            </a:r>
            <a:r>
              <a:rPr kumimoji="0" lang="en-GB" sz="2000" b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invite you to provide feedback on </a:t>
            </a: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+mn-ea"/>
                <a:cs typeface="+mn-cs"/>
              </a:rPr>
              <a:t>each scenario</a:t>
            </a:r>
            <a:r>
              <a:rPr kumimoji="0" lang="en-GB" sz="2000" b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proposed</a:t>
            </a:r>
            <a:br>
              <a:rPr kumimoji="0" lang="en-GB" sz="1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lang="en-GB" sz="1800" b="0" dirty="0">
                <a:solidFill>
                  <a:schemeClr val="tx1"/>
                </a:solidFill>
              </a:rPr>
              <a:t>   </a:t>
            </a:r>
            <a:endParaRPr lang="en-GB" sz="2700" b="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CA026B-94E9-4CA7-91E8-9C0E4A9615E7}"/>
              </a:ext>
            </a:extLst>
          </p:cNvPr>
          <p:cNvSpPr/>
          <p:nvPr/>
        </p:nvSpPr>
        <p:spPr>
          <a:xfrm>
            <a:off x="431240" y="1116665"/>
            <a:ext cx="1141786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2304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7B8E0E-1ACB-5377-490A-88D668BE80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</a:rPr>
              <a:t>A meeting with your Account Director </a:t>
            </a:r>
          </a:p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</a:rPr>
              <a:t>A written response sent to </a:t>
            </a: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  <a:hlinkClick r:id="rId2"/>
              </a:rPr>
              <a:t>shaun.roberts@royalmail.com</a:t>
            </a:r>
            <a:endParaRPr lang="en-GB" sz="1800" b="0" dirty="0">
              <a:solidFill>
                <a:schemeClr val="tx1"/>
              </a:solidFill>
              <a:latin typeface="Aptos" panose="020B0004020202020204" pitchFamily="34" charset="0"/>
            </a:endParaRPr>
          </a:p>
          <a:p>
            <a:pPr marL="457200" lvl="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</a:rPr>
              <a:t>A combination of a 121 meeting with your Account Director and a written response</a:t>
            </a:r>
          </a:p>
          <a:p>
            <a:pPr lvl="0"/>
            <a:endParaRPr lang="en-GB" sz="1800" b="0" dirty="0">
              <a:solidFill>
                <a:schemeClr val="tx1"/>
              </a:solidFill>
              <a:latin typeface="Aptos" panose="020B0004020202020204" pitchFamily="34" charset="0"/>
            </a:endParaRPr>
          </a:p>
          <a:p>
            <a:pPr lvl="0"/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</a:rPr>
              <a:t>Written responses to be submitted by 5pm 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24</a:t>
            </a:r>
            <a:r>
              <a:rPr lang="en-GB" sz="1800" baseline="30000" dirty="0">
                <a:solidFill>
                  <a:schemeClr val="tx1"/>
                </a:solidFill>
                <a:latin typeface="Aptos" panose="020B0004020202020204" pitchFamily="34" charset="0"/>
              </a:rPr>
              <a:t>th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 July 2026</a:t>
            </a:r>
            <a:endParaRPr lang="en-GB" sz="1800" b="0" dirty="0">
              <a:solidFill>
                <a:schemeClr val="tx1"/>
              </a:solidFill>
              <a:latin typeface="Aptos" panose="020B0004020202020204" pitchFamily="34" charset="0"/>
            </a:endParaRPr>
          </a:p>
          <a:p>
            <a:pPr lvl="0"/>
            <a:endParaRPr lang="en-GB" sz="1800" b="0" dirty="0">
              <a:solidFill>
                <a:schemeClr val="tx1"/>
              </a:solidFill>
              <a:latin typeface="Aptos" panose="020B0004020202020204" pitchFamily="34" charset="0"/>
            </a:endParaRPr>
          </a:p>
          <a:p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</a:rPr>
              <a:t>Your Account Director will be in-touch to support your preferred option.</a:t>
            </a:r>
          </a:p>
          <a:p>
            <a:endParaRPr lang="en-GB" sz="2000" dirty="0">
              <a:solidFill>
                <a:schemeClr val="tx1"/>
              </a:solidFill>
            </a:endParaRPr>
          </a:p>
          <a:p>
            <a:endParaRPr lang="en-GB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Responses  </a:t>
            </a:r>
            <a:r>
              <a:rPr lang="en-GB" sz="2800" dirty="0">
                <a:latin typeface="Aptos" panose="020B0004020202020204" pitchFamily="34" charset="0"/>
              </a:rPr>
              <a:t>  </a:t>
            </a:r>
            <a:br>
              <a:rPr lang="en-GB" sz="2800" dirty="0">
                <a:latin typeface="Aptos" panose="020B0004020202020204" pitchFamily="34" charset="0"/>
              </a:rPr>
            </a:b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We would welcome your response and feedback via any of the following:</a:t>
            </a:r>
            <a:b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rPr>
            </a:br>
            <a:endParaRPr lang="en-GB" sz="28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691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A3D074-C1ED-DE8F-19AA-6AAEE34B74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latin typeface="Aptos" panose="020B0004020202020204" pitchFamily="34" charset="0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224874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E23B1-1D53-1BC2-ACD6-8944153F3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b="1" dirty="0">
                <a:latin typeface="Aptos" panose="020B0004020202020204" pitchFamily="34" charset="0"/>
              </a:rPr>
              <a:t>Considerations to enable migration from a non-Mailmark Letter to a </a:t>
            </a:r>
            <a:br>
              <a:rPr lang="en-GB" sz="2700" b="1" dirty="0">
                <a:latin typeface="Aptos" panose="020B0004020202020204" pitchFamily="34" charset="0"/>
              </a:rPr>
            </a:br>
            <a:r>
              <a:rPr lang="en-GB" sz="2700" b="1" dirty="0">
                <a:latin typeface="Aptos" panose="020B0004020202020204" pitchFamily="34" charset="0"/>
              </a:rPr>
              <a:t>Mailmark product</a:t>
            </a:r>
            <a:br>
              <a:rPr lang="en-GB" b="1" dirty="0">
                <a:latin typeface="Aptos" panose="020B0004020202020204" pitchFamily="34" charset="0"/>
              </a:rPr>
            </a:br>
            <a:r>
              <a:rPr lang="en-GB" sz="200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Below are some possible solutions to develop with you, providing clear options for potential mig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E504A-021A-8B04-12B9-3F1C8C1C2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13</a:t>
            </a:fld>
            <a:endParaRPr lang="en-GB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FC527B0-1F59-971E-DE11-0E6194BA6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359603"/>
              </p:ext>
            </p:extLst>
          </p:nvPr>
        </p:nvGraphicFramePr>
        <p:xfrm>
          <a:off x="556684" y="1349351"/>
          <a:ext cx="9866223" cy="517144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4698800">
                  <a:extLst>
                    <a:ext uri="{9D8B030D-6E8A-4147-A177-3AD203B41FA5}">
                      <a16:colId xmlns:a16="http://schemas.microsoft.com/office/drawing/2014/main" val="1949646642"/>
                    </a:ext>
                  </a:extLst>
                </a:gridCol>
                <a:gridCol w="5167423">
                  <a:extLst>
                    <a:ext uri="{9D8B030D-6E8A-4147-A177-3AD203B41FA5}">
                      <a16:colId xmlns:a16="http://schemas.microsoft.com/office/drawing/2014/main" val="27350619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Aptos" panose="020B0004020202020204" pitchFamily="34" charset="0"/>
                        </a:rPr>
                        <a:t>LETTERS – Design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latin typeface="Aptos" panose="020B0004020202020204" pitchFamily="34" charset="0"/>
                        </a:rPr>
                        <a:t> Sol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955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spine/fold location (Man L to Mailmark 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Landscape – to be beneath Delivery Address/ Indicia</a:t>
                      </a:r>
                    </a:p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Portrait – to be to the left of the Delivery Address / Indic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956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outer cover gsm (Man L to Mailmark 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Minimum 100g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926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inner pages gsm (Man L to Mailmark 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Minimum 50g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419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Single fold designs w/wo tab (Man L to Mailmark 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Add an additional 2 tabs and change fold as above </a:t>
                      </a:r>
                    </a:p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If 2pp mailer, consider hot melt to change to ‘feature mailer design’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4330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Multi fold design, unsealed (Man L to Mailmark 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Aptos" panose="020B0004020202020204" pitchFamily="34" charset="0"/>
                        </a:rPr>
                        <a:t>Add an additional 2 tabs and change fold as abo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7191699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Aptos" panose="020B0004020202020204" pitchFamily="34" charset="0"/>
                        </a:rPr>
                        <a:t>Further considerations 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A Return Address is mandatory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Return Address standards (font, layout, position) are mandatory.  All packs checked require the Return Address to be reformatted and re-located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The Delivery Address must be lower than the Indicia and Return Address.  This affects some packs, not all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For unwrapped, if the inner pages exceed the minimum, consider reducing so that the savings can be used to increase the quality of the outer cover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For single tab seal mailers of good quality paper (2pp) – feature mailer design might be more cost efficient in production than application of tab seals. 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Printing the Mailmark barcode.  4state may provide a better read rate than 2D. </a:t>
                      </a:r>
                    </a:p>
                    <a:p>
                      <a:pPr marL="342900" indent="-342900">
                        <a:buAutoNum type="arabicPeriod"/>
                      </a:pPr>
                      <a:endParaRPr lang="en-GB" sz="14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099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76012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E23B1-1D53-1BC2-ACD6-8944153F3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b="1" dirty="0">
                <a:latin typeface="Aptos" panose="020B0004020202020204" pitchFamily="34" charset="0"/>
              </a:rPr>
              <a:t>Considerations to enable migration from a non-Mailmark Large Letter </a:t>
            </a:r>
            <a:br>
              <a:rPr lang="en-GB" sz="2700" b="1" dirty="0">
                <a:latin typeface="Aptos" panose="020B0004020202020204" pitchFamily="34" charset="0"/>
              </a:rPr>
            </a:br>
            <a:r>
              <a:rPr lang="en-GB" sz="2700" b="1" dirty="0">
                <a:latin typeface="Aptos" panose="020B0004020202020204" pitchFamily="34" charset="0"/>
              </a:rPr>
              <a:t>to a Mailmark product</a:t>
            </a:r>
            <a:br>
              <a:rPr lang="en-GB" sz="2700" b="1" dirty="0">
                <a:latin typeface="Aptos" panose="020B0004020202020204" pitchFamily="34" charset="0"/>
              </a:rPr>
            </a:br>
            <a:r>
              <a:rPr lang="en-GB" sz="200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Below are some possible solutions to develop with you, providing clear options for potential migration</a:t>
            </a:r>
            <a:br>
              <a:rPr lang="en-GB" sz="1800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endParaRPr lang="en-GB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E504A-021A-8B04-12B9-3F1C8C1C2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EEF1C-85D8-4622-96D6-431C752B733C}" type="slidenum">
              <a:rPr lang="en-GB" smtClean="0"/>
              <a:pPr/>
              <a:t>14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7065B10-16B5-9ECA-FD99-6DF2C60397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486708"/>
              </p:ext>
            </p:extLst>
          </p:nvPr>
        </p:nvGraphicFramePr>
        <p:xfrm>
          <a:off x="556684" y="1355652"/>
          <a:ext cx="9866222" cy="510540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3558116">
                  <a:extLst>
                    <a:ext uri="{9D8B030D-6E8A-4147-A177-3AD203B41FA5}">
                      <a16:colId xmlns:a16="http://schemas.microsoft.com/office/drawing/2014/main" val="1949646642"/>
                    </a:ext>
                  </a:extLst>
                </a:gridCol>
                <a:gridCol w="6308106">
                  <a:extLst>
                    <a:ext uri="{9D8B030D-6E8A-4147-A177-3AD203B41FA5}">
                      <a16:colId xmlns:a16="http://schemas.microsoft.com/office/drawing/2014/main" val="27350619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Aptos" panose="020B0004020202020204" pitchFamily="34" charset="0"/>
                        </a:rPr>
                        <a:t>LARGE LETTERS – Design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latin typeface="Aptos" panose="020B0004020202020204" pitchFamily="34" charset="0"/>
                        </a:rPr>
                        <a:t> Sol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955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spine 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Landscape – to be beneath Delivery Address/ Indicia</a:t>
                      </a:r>
                    </a:p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Portrait – to be to the left of the Delivery Address / Indic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956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outer cover g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Minimum 100g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926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Unwrapped – inner pages g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Minimum 50g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419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Polywrap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Single layer to be greater than 15microns</a:t>
                      </a:r>
                    </a:p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Polymer fil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4330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latin typeface="Aptos" panose="020B0004020202020204" pitchFamily="34" charset="0"/>
                        </a:rPr>
                        <a:t>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13mm maximum </a:t>
                      </a:r>
                    </a:p>
                    <a:p>
                      <a:r>
                        <a:rPr lang="en-GB" sz="1400" dirty="0">
                          <a:latin typeface="Aptos" panose="020B0004020202020204" pitchFamily="34" charset="0"/>
                        </a:rPr>
                        <a:t>Spatial distortion to be considered i.e. w</a:t>
                      </a:r>
                      <a:r>
                        <a:rPr lang="en-GB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here there are step changes (i.e. multiple inserts) in the thickness of the Large Letter, at least 50% of the overall thickness of the Large Letter must be uniform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7191699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Aptos" panose="020B0004020202020204" pitchFamily="34" charset="0"/>
                        </a:rPr>
                        <a:t>Further considerations 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A Return Address is mandatory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Return Address standards (font, layout, position) are mandatory. 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The Delivery Address must be lower than the Indicia and Return Address.  This affects some packs, not all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For unwrapped, if the inner pages exceed the minimum, consider reducing so that the savings can be used to increase the quality of the outer cover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If a tab seal is used on unwrapped, this could be removed to save production costs. 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400" b="1" dirty="0">
                          <a:latin typeface="Aptos" panose="020B0004020202020204" pitchFamily="34" charset="0"/>
                        </a:rPr>
                        <a:t>No onserts are permitted so full pack re-designs may be required for some mailings</a:t>
                      </a:r>
                    </a:p>
                    <a:p>
                      <a:endParaRPr lang="en-GB" sz="1400" b="1" dirty="0">
                        <a:latin typeface="Aptos" panose="020B00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099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76321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">
            <a:extLst>
              <a:ext uri="{FF2B5EF4-FFF2-40B4-BE49-F238E27FC236}">
                <a16:creationId xmlns:a16="http://schemas.microsoft.com/office/drawing/2014/main" id="{170BDCAB-C724-6791-CEFF-265E45DCFE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426" y="5321539"/>
            <a:ext cx="6685782" cy="43619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C22BD59-4EE4-8FE5-EEA1-DE7FFBA36E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26" y="1712075"/>
            <a:ext cx="6685782" cy="3138423"/>
          </a:xfrm>
        </p:spPr>
        <p:txBody>
          <a:bodyPr/>
          <a:lstStyle/>
          <a:p>
            <a:r>
              <a:rPr lang="en-US" dirty="0"/>
              <a:t>Thank you 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8556E46-82D2-8C0C-3A5D-EFD0D26B93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3426" y="6033671"/>
            <a:ext cx="6685782" cy="32714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80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6C21F-E53D-034E-0FD1-DB7C84F4E2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3608" y="1221619"/>
            <a:ext cx="11094720" cy="4414761"/>
          </a:xfrm>
        </p:spPr>
        <p:txBody>
          <a:bodyPr/>
          <a:lstStyle/>
          <a:p>
            <a:pPr>
              <a:buClrTx/>
              <a:buNone/>
              <a:defRPr/>
            </a:pPr>
            <a:endParaRPr lang="en-GB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ClrTx/>
              <a:buNone/>
              <a:defRPr/>
            </a:pPr>
            <a:endParaRPr lang="en-GB" sz="2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Introduction</a:t>
            </a:r>
            <a:r>
              <a:rPr lang="en-GB" sz="2700" dirty="0"/>
              <a:t> </a:t>
            </a:r>
            <a:r>
              <a:rPr lang="en-GB" sz="2800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2DA419-1626-70CE-0F0C-E52DA96CAE89}"/>
              </a:ext>
            </a:extLst>
          </p:cNvPr>
          <p:cNvSpPr txBox="1"/>
          <p:nvPr/>
        </p:nvSpPr>
        <p:spPr>
          <a:xfrm>
            <a:off x="326176" y="1088663"/>
            <a:ext cx="11506160" cy="49494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llowing our 2025 communication relating to the removal of the non-Mailmark variant of Catalogue Mail, we are now considering what the next phase of this journey should look lik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fore making any decisions, it is very important to Royal Mail to gather feedback from our customers and the wider supply chain on this direction of travel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 support improved barcoding usage, we would like to seek your views on three potential scenarios which are under consideration as the next phase of our journey: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GB" b="1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removal of the non-Mailmark variant of all Large </a:t>
            </a:r>
            <a:r>
              <a:rPr lang="en-GB" b="1" kern="100" dirty="0">
                <a:solidFill>
                  <a:schemeClr val="tx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</a:t>
            </a:r>
            <a:r>
              <a:rPr lang="en-GB" b="1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ter format items and the removal of the non-Mailmark variant of Advertising Mail Letter format item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GB" b="1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removal of all Large Letter non-Mailmark products only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GB" b="1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removal of the non-Mailmark variant of Advertising Mail Letter and Large Letter product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solidFill>
                  <a:schemeClr val="tx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</a:t>
            </a:r>
            <a:r>
              <a:rPr lang="en-GB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 believe that with the right support, the majority of this mail can be migrated to a Mailmark or a General Large Letter optio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ur intention is to discuss these scenarios with the industry to gather feedback and insights before finalising our approach </a:t>
            </a:r>
            <a:r>
              <a:rPr lang="en-GB" kern="100" dirty="0">
                <a:solidFill>
                  <a:schemeClr val="tx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r the next phase of this journey. </a:t>
            </a:r>
            <a:endParaRPr lang="en-GB" kern="100" dirty="0">
              <a:solidFill>
                <a:schemeClr val="tx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9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ACBAE2-B26B-1FC4-1A5E-25DB1EA07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Potential Future State – Next Phase Scenarios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8C98A7-E0B7-E5DE-2CAB-03143FE3DB2F}"/>
              </a:ext>
            </a:extLst>
          </p:cNvPr>
          <p:cNvSpPr txBox="1"/>
          <p:nvPr/>
        </p:nvSpPr>
        <p:spPr>
          <a:xfrm>
            <a:off x="196065" y="2242509"/>
            <a:ext cx="1274998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Current Stat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25C269-14B9-4516-04CD-E161C1A94BAD}"/>
              </a:ext>
            </a:extLst>
          </p:cNvPr>
          <p:cNvSpPr txBox="1"/>
          <p:nvPr/>
        </p:nvSpPr>
        <p:spPr>
          <a:xfrm>
            <a:off x="2608974" y="2242308"/>
            <a:ext cx="1274998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Potential Next Phase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CFEC3F3-B8EF-D750-6088-6ABD0C17F5B2}"/>
              </a:ext>
            </a:extLst>
          </p:cNvPr>
          <p:cNvGrpSpPr/>
          <p:nvPr/>
        </p:nvGrpSpPr>
        <p:grpSpPr>
          <a:xfrm>
            <a:off x="78631" y="2532799"/>
            <a:ext cx="3922776" cy="671220"/>
            <a:chOff x="1517904" y="1706880"/>
            <a:chExt cx="8314946" cy="1316736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1D91B22-3E56-8335-6DC0-D7320FA883B8}"/>
                </a:ext>
              </a:extLst>
            </p:cNvPr>
            <p:cNvSpPr/>
            <p:nvPr/>
          </p:nvSpPr>
          <p:spPr>
            <a:xfrm>
              <a:off x="1517904" y="170688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Advertising Mail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4BD3F88-E076-12E4-C56B-BF9053D7F99C}"/>
                </a:ext>
              </a:extLst>
            </p:cNvPr>
            <p:cNvSpPr/>
            <p:nvPr/>
          </p:nvSpPr>
          <p:spPr>
            <a:xfrm>
              <a:off x="6632450" y="1706880"/>
              <a:ext cx="3200400" cy="1316736"/>
            </a:xfrm>
            <a:prstGeom prst="roundRect">
              <a:avLst/>
            </a:prstGeom>
            <a:solidFill>
              <a:srgbClr val="00B0F0">
                <a:alpha val="63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Removed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30A4F95A-1415-0B38-01AB-D1CB2C9B69FB}"/>
                </a:ext>
              </a:extLst>
            </p:cNvPr>
            <p:cNvSpPr/>
            <p:nvPr/>
          </p:nvSpPr>
          <p:spPr>
            <a:xfrm>
              <a:off x="5227343" y="221284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B346A95-7575-208A-DA45-F9E7601B88E3}"/>
              </a:ext>
            </a:extLst>
          </p:cNvPr>
          <p:cNvGrpSpPr/>
          <p:nvPr/>
        </p:nvGrpSpPr>
        <p:grpSpPr>
          <a:xfrm>
            <a:off x="78631" y="3281707"/>
            <a:ext cx="3922776" cy="671220"/>
            <a:chOff x="1517904" y="3652810"/>
            <a:chExt cx="8314946" cy="131673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9346521-E779-C291-9D50-7B59BC173370}"/>
                </a:ext>
              </a:extLst>
            </p:cNvPr>
            <p:cNvSpPr/>
            <p:nvPr/>
          </p:nvSpPr>
          <p:spPr>
            <a:xfrm>
              <a:off x="1517904" y="365281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Large Letter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CBD9BAB-08B0-9CF6-0F1E-C9A88CA66C04}"/>
                </a:ext>
              </a:extLst>
            </p:cNvPr>
            <p:cNvSpPr/>
            <p:nvPr/>
          </p:nvSpPr>
          <p:spPr>
            <a:xfrm>
              <a:off x="6632450" y="3652810"/>
              <a:ext cx="3200400" cy="1316736"/>
            </a:xfrm>
            <a:prstGeom prst="roundRect">
              <a:avLst/>
            </a:prstGeom>
            <a:solidFill>
              <a:srgbClr val="00B0F0">
                <a:alpha val="63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Removed</a:t>
              </a:r>
              <a:r>
                <a:rPr lang="en-GB" sz="1100" dirty="0">
                  <a:solidFill>
                    <a:srgbClr val="FFFFFF"/>
                  </a:solidFill>
                </a:rPr>
                <a:t> </a:t>
              </a: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3B7E7733-98E5-25B6-0AE8-8E7F19E59A2A}"/>
                </a:ext>
              </a:extLst>
            </p:cNvPr>
            <p:cNvSpPr/>
            <p:nvPr/>
          </p:nvSpPr>
          <p:spPr>
            <a:xfrm>
              <a:off x="5195847" y="415877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0238A24-CEF6-4FFC-42F8-9C93A054B545}"/>
              </a:ext>
            </a:extLst>
          </p:cNvPr>
          <p:cNvGrpSpPr/>
          <p:nvPr/>
        </p:nvGrpSpPr>
        <p:grpSpPr>
          <a:xfrm>
            <a:off x="79654" y="4722154"/>
            <a:ext cx="2186201" cy="671220"/>
            <a:chOff x="1517904" y="5151120"/>
            <a:chExt cx="4633999" cy="1316736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FF2A532-732C-FF42-179D-1B2FDA8BFEC0}"/>
                </a:ext>
              </a:extLst>
            </p:cNvPr>
            <p:cNvSpPr/>
            <p:nvPr/>
          </p:nvSpPr>
          <p:spPr>
            <a:xfrm>
              <a:off x="1517904" y="515112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2ED7FB07-216E-BB13-C232-752C157350EB}"/>
                </a:ext>
              </a:extLst>
            </p:cNvPr>
            <p:cNvSpPr/>
            <p:nvPr/>
          </p:nvSpPr>
          <p:spPr>
            <a:xfrm>
              <a:off x="5227343" y="565708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34E5882-E014-3425-F122-11599DCE6146}"/>
              </a:ext>
            </a:extLst>
          </p:cNvPr>
          <p:cNvSpPr/>
          <p:nvPr/>
        </p:nvSpPr>
        <p:spPr>
          <a:xfrm>
            <a:off x="2491540" y="4722154"/>
            <a:ext cx="1509866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Business Mail 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Letter </a:t>
            </a:r>
          </a:p>
          <a:p>
            <a:pPr algn="ctr"/>
            <a:endParaRPr lang="en-GB" sz="11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8E7474-A063-E3FD-14C2-0DCC064544A5}"/>
              </a:ext>
            </a:extLst>
          </p:cNvPr>
          <p:cNvSpPr txBox="1"/>
          <p:nvPr/>
        </p:nvSpPr>
        <p:spPr>
          <a:xfrm>
            <a:off x="4267241" y="2242509"/>
            <a:ext cx="1264491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Current State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3EFF46-EA05-2993-BCE2-20DB96CF76DE}"/>
              </a:ext>
            </a:extLst>
          </p:cNvPr>
          <p:cNvSpPr txBox="1"/>
          <p:nvPr/>
        </p:nvSpPr>
        <p:spPr>
          <a:xfrm>
            <a:off x="6660266" y="2242308"/>
            <a:ext cx="1264491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Potential Next Phase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2BCAB8-E570-149C-D227-F8B02F44E62A}"/>
              </a:ext>
            </a:extLst>
          </p:cNvPr>
          <p:cNvGrpSpPr/>
          <p:nvPr/>
        </p:nvGrpSpPr>
        <p:grpSpPr>
          <a:xfrm>
            <a:off x="4150775" y="2532799"/>
            <a:ext cx="3890449" cy="671220"/>
            <a:chOff x="1517904" y="1706880"/>
            <a:chExt cx="8314946" cy="1316736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73056DC-0864-7BDA-3DEB-5F6606D99C9D}"/>
                </a:ext>
              </a:extLst>
            </p:cNvPr>
            <p:cNvSpPr/>
            <p:nvPr/>
          </p:nvSpPr>
          <p:spPr>
            <a:xfrm>
              <a:off x="1517904" y="170688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Advertising Mail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5DFE800-251C-0A32-DF34-AC526776F6BE}"/>
                </a:ext>
              </a:extLst>
            </p:cNvPr>
            <p:cNvSpPr/>
            <p:nvPr/>
          </p:nvSpPr>
          <p:spPr>
            <a:xfrm>
              <a:off x="6632450" y="1706880"/>
              <a:ext cx="3200400" cy="1316736"/>
            </a:xfrm>
            <a:prstGeom prst="roundRect">
              <a:avLst/>
            </a:prstGeom>
            <a:solidFill>
              <a:srgbClr val="C00000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Advertising Mail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2" name="Arrow: Right 31">
              <a:extLst>
                <a:ext uri="{FF2B5EF4-FFF2-40B4-BE49-F238E27FC236}">
                  <a16:creationId xmlns:a16="http://schemas.microsoft.com/office/drawing/2014/main" id="{B2AAE09D-6759-634B-8DD8-7180A6934EA5}"/>
                </a:ext>
              </a:extLst>
            </p:cNvPr>
            <p:cNvSpPr/>
            <p:nvPr/>
          </p:nvSpPr>
          <p:spPr>
            <a:xfrm>
              <a:off x="5227343" y="221284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699F4AE-3255-2D47-A416-A2281E0F85F6}"/>
              </a:ext>
            </a:extLst>
          </p:cNvPr>
          <p:cNvGrpSpPr/>
          <p:nvPr/>
        </p:nvGrpSpPr>
        <p:grpSpPr>
          <a:xfrm>
            <a:off x="4150775" y="3281707"/>
            <a:ext cx="3890449" cy="671220"/>
            <a:chOff x="1517904" y="3652810"/>
            <a:chExt cx="8314946" cy="1316736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8459742-EEC9-D33C-01D7-8CB644368F4B}"/>
                </a:ext>
              </a:extLst>
            </p:cNvPr>
            <p:cNvSpPr/>
            <p:nvPr/>
          </p:nvSpPr>
          <p:spPr>
            <a:xfrm>
              <a:off x="1517904" y="365281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Large Letter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 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B770244-3311-D828-EFB2-64944B00EF04}"/>
                </a:ext>
              </a:extLst>
            </p:cNvPr>
            <p:cNvSpPr/>
            <p:nvPr/>
          </p:nvSpPr>
          <p:spPr>
            <a:xfrm>
              <a:off x="6632450" y="3652810"/>
              <a:ext cx="3200400" cy="1316736"/>
            </a:xfrm>
            <a:prstGeom prst="roundRect">
              <a:avLst/>
            </a:prstGeom>
            <a:solidFill>
              <a:srgbClr val="00B0F0">
                <a:alpha val="63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Removed</a:t>
              </a:r>
              <a:r>
                <a:rPr lang="en-GB" sz="1100" dirty="0">
                  <a:solidFill>
                    <a:srgbClr val="FFFFFF"/>
                  </a:solidFill>
                </a:rPr>
                <a:t> </a:t>
              </a:r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692405D3-E5FE-F0CE-3350-DE6621DEA12A}"/>
                </a:ext>
              </a:extLst>
            </p:cNvPr>
            <p:cNvSpPr/>
            <p:nvPr/>
          </p:nvSpPr>
          <p:spPr>
            <a:xfrm>
              <a:off x="5195847" y="415877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286BE6F-17E2-CC61-5AEF-64DC1294F084}"/>
              </a:ext>
            </a:extLst>
          </p:cNvPr>
          <p:cNvGrpSpPr/>
          <p:nvPr/>
        </p:nvGrpSpPr>
        <p:grpSpPr>
          <a:xfrm>
            <a:off x="4145623" y="4732445"/>
            <a:ext cx="2168184" cy="671220"/>
            <a:chOff x="1517904" y="5151120"/>
            <a:chExt cx="4633999" cy="1316736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405DA38-75D1-0B2A-9E8E-7A2D9949FAD4}"/>
                </a:ext>
              </a:extLst>
            </p:cNvPr>
            <p:cNvSpPr/>
            <p:nvPr/>
          </p:nvSpPr>
          <p:spPr>
            <a:xfrm>
              <a:off x="1517904" y="515112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38E678BA-5CD8-AC27-5EA5-8523FB70B199}"/>
                </a:ext>
              </a:extLst>
            </p:cNvPr>
            <p:cNvSpPr/>
            <p:nvPr/>
          </p:nvSpPr>
          <p:spPr>
            <a:xfrm>
              <a:off x="5227343" y="565708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281A9E9-BF0A-1613-F3B5-6BAF34C9CCF9}"/>
              </a:ext>
            </a:extLst>
          </p:cNvPr>
          <p:cNvSpPr/>
          <p:nvPr/>
        </p:nvSpPr>
        <p:spPr>
          <a:xfrm>
            <a:off x="6531982" y="4732445"/>
            <a:ext cx="1497423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Business Mail 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Letter </a:t>
            </a:r>
          </a:p>
          <a:p>
            <a:pPr algn="ctr"/>
            <a:endParaRPr lang="en-GB" sz="11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1965CD-3701-F152-BDE5-42D6117927DF}"/>
              </a:ext>
            </a:extLst>
          </p:cNvPr>
          <p:cNvSpPr txBox="1"/>
          <p:nvPr/>
        </p:nvSpPr>
        <p:spPr>
          <a:xfrm>
            <a:off x="8339386" y="2242509"/>
            <a:ext cx="1264491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Current State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B81904-ABA3-F31F-492E-9A05A679DE20}"/>
              </a:ext>
            </a:extLst>
          </p:cNvPr>
          <p:cNvSpPr txBox="1"/>
          <p:nvPr/>
        </p:nvSpPr>
        <p:spPr>
          <a:xfrm>
            <a:off x="10732411" y="2242308"/>
            <a:ext cx="1264491" cy="106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404044"/>
                </a:solidFill>
                <a:latin typeface="Aptos" panose="020B0004020202020204" pitchFamily="34" charset="0"/>
              </a:rPr>
              <a:t>Potential Next Phase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8C2A78F-4A6A-CA1E-6C20-0C2144CDDF39}"/>
              </a:ext>
            </a:extLst>
          </p:cNvPr>
          <p:cNvGrpSpPr/>
          <p:nvPr/>
        </p:nvGrpSpPr>
        <p:grpSpPr>
          <a:xfrm>
            <a:off x="8222920" y="2532799"/>
            <a:ext cx="3890449" cy="671220"/>
            <a:chOff x="1517904" y="1706880"/>
            <a:chExt cx="8314946" cy="1316736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3F415976-1E4E-7DDF-20CE-A5022CDB5497}"/>
                </a:ext>
              </a:extLst>
            </p:cNvPr>
            <p:cNvSpPr/>
            <p:nvPr/>
          </p:nvSpPr>
          <p:spPr>
            <a:xfrm>
              <a:off x="1517904" y="170688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Advertising Mail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B8CD9A6E-6638-6F10-7BA9-32748CF4C36C}"/>
                </a:ext>
              </a:extLst>
            </p:cNvPr>
            <p:cNvSpPr/>
            <p:nvPr/>
          </p:nvSpPr>
          <p:spPr>
            <a:xfrm>
              <a:off x="6632450" y="1706880"/>
              <a:ext cx="3200400" cy="1316736"/>
            </a:xfrm>
            <a:prstGeom prst="roundRect">
              <a:avLst/>
            </a:prstGeom>
            <a:solidFill>
              <a:srgbClr val="00B0F0">
                <a:alpha val="63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Removed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EEAD74E1-ABD1-A94B-7871-6552ED89E467}"/>
                </a:ext>
              </a:extLst>
            </p:cNvPr>
            <p:cNvSpPr/>
            <p:nvPr/>
          </p:nvSpPr>
          <p:spPr>
            <a:xfrm>
              <a:off x="5227343" y="221284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37D17E7-E5E6-65CA-D58A-36C1FBEBF55C}"/>
              </a:ext>
            </a:extLst>
          </p:cNvPr>
          <p:cNvGrpSpPr/>
          <p:nvPr/>
        </p:nvGrpSpPr>
        <p:grpSpPr>
          <a:xfrm>
            <a:off x="8222920" y="3281707"/>
            <a:ext cx="2153448" cy="671220"/>
            <a:chOff x="1517904" y="3652810"/>
            <a:chExt cx="4602503" cy="1316736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AA764AA2-5ABB-F64F-18DB-52B8E0C72866}"/>
                </a:ext>
              </a:extLst>
            </p:cNvPr>
            <p:cNvSpPr/>
            <p:nvPr/>
          </p:nvSpPr>
          <p:spPr>
            <a:xfrm>
              <a:off x="1517904" y="365281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Large Letter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 </a:t>
              </a:r>
            </a:p>
          </p:txBody>
        </p:sp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256775D8-FA84-8E16-DD8E-6B996C671D08}"/>
                </a:ext>
              </a:extLst>
            </p:cNvPr>
            <p:cNvSpPr/>
            <p:nvPr/>
          </p:nvSpPr>
          <p:spPr>
            <a:xfrm>
              <a:off x="5195847" y="415877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C5A4BA-9856-BAAF-B15C-B8FC7C0D8C64}"/>
              </a:ext>
            </a:extLst>
          </p:cNvPr>
          <p:cNvGrpSpPr/>
          <p:nvPr/>
        </p:nvGrpSpPr>
        <p:grpSpPr>
          <a:xfrm>
            <a:off x="8228564" y="4732445"/>
            <a:ext cx="2168184" cy="671220"/>
            <a:chOff x="1517904" y="5151120"/>
            <a:chExt cx="4633999" cy="1316736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258F2A1B-73A4-DEA5-C100-8A9C8C4F8189}"/>
                </a:ext>
              </a:extLst>
            </p:cNvPr>
            <p:cNvSpPr/>
            <p:nvPr/>
          </p:nvSpPr>
          <p:spPr>
            <a:xfrm>
              <a:off x="1517904" y="5151120"/>
              <a:ext cx="3200400" cy="1316736"/>
            </a:xfrm>
            <a:prstGeom prst="roundRect">
              <a:avLst/>
            </a:prstGeom>
            <a:solidFill>
              <a:srgbClr val="DA202A">
                <a:alpha val="62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Business Mail  </a:t>
              </a:r>
            </a:p>
            <a:p>
              <a:pPr algn="ctr"/>
              <a:r>
                <a:rPr lang="en-GB" sz="1100" dirty="0">
                  <a:solidFill>
                    <a:srgbClr val="FFFFFF"/>
                  </a:solidFill>
                  <a:latin typeface="Aptos" panose="020B0004020202020204" pitchFamily="34" charset="0"/>
                </a:rPr>
                <a:t>Non-Mailmark Letter </a:t>
              </a:r>
            </a:p>
            <a:p>
              <a:pPr algn="ctr"/>
              <a:endParaRPr lang="en-GB" sz="1100" dirty="0">
                <a:solidFill>
                  <a:srgbClr val="FFFFFF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1" name="Arrow: Right 40">
              <a:extLst>
                <a:ext uri="{FF2B5EF4-FFF2-40B4-BE49-F238E27FC236}">
                  <a16:creationId xmlns:a16="http://schemas.microsoft.com/office/drawing/2014/main" id="{BFC523E0-897B-346C-A146-6ECA24E5F2CA}"/>
                </a:ext>
              </a:extLst>
            </p:cNvPr>
            <p:cNvSpPr/>
            <p:nvPr/>
          </p:nvSpPr>
          <p:spPr>
            <a:xfrm>
              <a:off x="5227343" y="5657088"/>
              <a:ext cx="924560" cy="304800"/>
            </a:xfrm>
            <a:prstGeom prst="rightArrow">
              <a:avLst/>
            </a:prstGeom>
            <a:solidFill>
              <a:srgbClr val="DA202A">
                <a:alpha val="63000"/>
              </a:srgbClr>
            </a:solidFill>
            <a:ln w="9525" cap="rnd" cmpd="sng" algn="ctr">
              <a:solidFill>
                <a:srgbClr val="DA202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AE2183E9-2F4C-78AF-0B9C-7586259516AD}"/>
              </a:ext>
            </a:extLst>
          </p:cNvPr>
          <p:cNvSpPr/>
          <p:nvPr/>
        </p:nvSpPr>
        <p:spPr>
          <a:xfrm>
            <a:off x="10614923" y="4732445"/>
            <a:ext cx="1497423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Business Mail 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Letter </a:t>
            </a:r>
          </a:p>
          <a:p>
            <a:pPr algn="ctr"/>
            <a:endParaRPr lang="en-GB" sz="11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8997B2F-2A25-F0E2-56C7-108C4BF0C180}"/>
              </a:ext>
            </a:extLst>
          </p:cNvPr>
          <p:cNvCxnSpPr/>
          <p:nvPr/>
        </p:nvCxnSpPr>
        <p:spPr>
          <a:xfrm>
            <a:off x="4078879" y="2093317"/>
            <a:ext cx="6666" cy="3048000"/>
          </a:xfrm>
          <a:prstGeom prst="line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553D4C5-4127-9A67-8939-A4FD39E9C5B9}"/>
              </a:ext>
            </a:extLst>
          </p:cNvPr>
          <p:cNvCxnSpPr/>
          <p:nvPr/>
        </p:nvCxnSpPr>
        <p:spPr>
          <a:xfrm>
            <a:off x="8133497" y="2083514"/>
            <a:ext cx="6666" cy="3048000"/>
          </a:xfrm>
          <a:prstGeom prst="line">
            <a:avLst/>
          </a:prstGeom>
          <a:ln w="31750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0D2AC338-BF52-BAA7-2605-EB6679E80630}"/>
              </a:ext>
            </a:extLst>
          </p:cNvPr>
          <p:cNvSpPr txBox="1"/>
          <p:nvPr/>
        </p:nvSpPr>
        <p:spPr>
          <a:xfrm>
            <a:off x="1144141" y="1574800"/>
            <a:ext cx="1818640" cy="3663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Scenario 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B98F407-B99B-3E2B-325F-A24C94162857}"/>
              </a:ext>
            </a:extLst>
          </p:cNvPr>
          <p:cNvSpPr txBox="1"/>
          <p:nvPr/>
        </p:nvSpPr>
        <p:spPr>
          <a:xfrm>
            <a:off x="9250753" y="1574800"/>
            <a:ext cx="1818640" cy="3663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Scenario 3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6B7E856-32AA-9BEE-5292-4E493C56BD7B}"/>
              </a:ext>
            </a:extLst>
          </p:cNvPr>
          <p:cNvSpPr txBox="1"/>
          <p:nvPr/>
        </p:nvSpPr>
        <p:spPr>
          <a:xfrm>
            <a:off x="5169431" y="1574800"/>
            <a:ext cx="1818640" cy="3663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Scenario 2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CAB5404-9C52-1140-9114-26C99F21C191}"/>
              </a:ext>
            </a:extLst>
          </p:cNvPr>
          <p:cNvSpPr/>
          <p:nvPr/>
        </p:nvSpPr>
        <p:spPr>
          <a:xfrm>
            <a:off x="92738" y="4001930"/>
            <a:ext cx="1509866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Large Letter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Advertising Mail 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960BB91A-C395-5A84-BA42-156DF7AF6A8B}"/>
              </a:ext>
            </a:extLst>
          </p:cNvPr>
          <p:cNvSpPr/>
          <p:nvPr/>
        </p:nvSpPr>
        <p:spPr>
          <a:xfrm>
            <a:off x="2491540" y="4001930"/>
            <a:ext cx="1509866" cy="671220"/>
          </a:xfrm>
          <a:prstGeom prst="roundRect">
            <a:avLst/>
          </a:prstGeom>
          <a:solidFill>
            <a:srgbClr val="00B0F0">
              <a:alpha val="6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Removed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71A451C1-5939-2885-1571-A2C124D77E0E}"/>
              </a:ext>
            </a:extLst>
          </p:cNvPr>
          <p:cNvSpPr/>
          <p:nvPr/>
        </p:nvSpPr>
        <p:spPr>
          <a:xfrm>
            <a:off x="1835369" y="4288537"/>
            <a:ext cx="436183" cy="155375"/>
          </a:xfrm>
          <a:prstGeom prst="rightArrow">
            <a:avLst/>
          </a:prstGeom>
          <a:solidFill>
            <a:srgbClr val="DA202A">
              <a:alpha val="63000"/>
            </a:srgbClr>
          </a:solidFill>
          <a:ln w="9525" cap="rnd" cmpd="sng" algn="ctr">
            <a:solidFill>
              <a:srgbClr val="DA202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dirty="0">
              <a:solidFill>
                <a:srgbClr val="FFFFFF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E620639-645C-1593-220B-4AE567AEE733}"/>
              </a:ext>
            </a:extLst>
          </p:cNvPr>
          <p:cNvSpPr/>
          <p:nvPr/>
        </p:nvSpPr>
        <p:spPr>
          <a:xfrm>
            <a:off x="4144999" y="4001930"/>
            <a:ext cx="1509866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Large Letter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Advertising Mail 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42862A0-B00D-D060-3671-12CE893456E8}"/>
              </a:ext>
            </a:extLst>
          </p:cNvPr>
          <p:cNvSpPr/>
          <p:nvPr/>
        </p:nvSpPr>
        <p:spPr>
          <a:xfrm>
            <a:off x="6543801" y="4001930"/>
            <a:ext cx="1509866" cy="671220"/>
          </a:xfrm>
          <a:prstGeom prst="roundRect">
            <a:avLst/>
          </a:prstGeom>
          <a:solidFill>
            <a:srgbClr val="00B0F0">
              <a:alpha val="6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Removed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26629ACE-7D7E-91F5-72B4-D5229B3D79F5}"/>
              </a:ext>
            </a:extLst>
          </p:cNvPr>
          <p:cNvSpPr/>
          <p:nvPr/>
        </p:nvSpPr>
        <p:spPr>
          <a:xfrm>
            <a:off x="5887630" y="4288537"/>
            <a:ext cx="436183" cy="155375"/>
          </a:xfrm>
          <a:prstGeom prst="rightArrow">
            <a:avLst/>
          </a:prstGeom>
          <a:solidFill>
            <a:srgbClr val="DA202A">
              <a:alpha val="63000"/>
            </a:srgbClr>
          </a:solidFill>
          <a:ln w="9525" cap="rnd" cmpd="sng" algn="ctr">
            <a:solidFill>
              <a:srgbClr val="DA202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dirty="0">
              <a:solidFill>
                <a:srgbClr val="FFFFFF"/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A32E0210-4C28-7EE0-D29D-179DEE001F42}"/>
              </a:ext>
            </a:extLst>
          </p:cNvPr>
          <p:cNvSpPr/>
          <p:nvPr/>
        </p:nvSpPr>
        <p:spPr>
          <a:xfrm>
            <a:off x="8216395" y="4001930"/>
            <a:ext cx="1509866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Large Letter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Advertising Mail 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D90538E1-3DAE-2DD0-88A8-93BFB9F0CDC4}"/>
              </a:ext>
            </a:extLst>
          </p:cNvPr>
          <p:cNvSpPr/>
          <p:nvPr/>
        </p:nvSpPr>
        <p:spPr>
          <a:xfrm>
            <a:off x="10615197" y="4001930"/>
            <a:ext cx="1509866" cy="671220"/>
          </a:xfrm>
          <a:prstGeom prst="roundRect">
            <a:avLst/>
          </a:prstGeom>
          <a:solidFill>
            <a:srgbClr val="00B0F0">
              <a:alpha val="6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Removed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B1ACA0BC-978B-CBBD-2BF3-EFA289D50D28}"/>
              </a:ext>
            </a:extLst>
          </p:cNvPr>
          <p:cNvSpPr/>
          <p:nvPr/>
        </p:nvSpPr>
        <p:spPr>
          <a:xfrm>
            <a:off x="9959026" y="4288537"/>
            <a:ext cx="436183" cy="155375"/>
          </a:xfrm>
          <a:prstGeom prst="rightArrow">
            <a:avLst/>
          </a:prstGeom>
          <a:solidFill>
            <a:srgbClr val="DA202A">
              <a:alpha val="63000"/>
            </a:srgbClr>
          </a:solidFill>
          <a:ln w="9525" cap="rnd" cmpd="sng" algn="ctr">
            <a:solidFill>
              <a:srgbClr val="DA202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dirty="0">
              <a:solidFill>
                <a:srgbClr val="FFFFFF"/>
              </a:solidFill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EE948EB1-93D0-E430-142E-5E8C2DD9D563}"/>
              </a:ext>
            </a:extLst>
          </p:cNvPr>
          <p:cNvSpPr/>
          <p:nvPr/>
        </p:nvSpPr>
        <p:spPr>
          <a:xfrm>
            <a:off x="10621418" y="3259748"/>
            <a:ext cx="1497423" cy="671220"/>
          </a:xfrm>
          <a:prstGeom prst="roundRect">
            <a:avLst/>
          </a:prstGeom>
          <a:solidFill>
            <a:srgbClr val="DA202A">
              <a:alpha val="62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Non-Mailmark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Large Letter </a:t>
            </a:r>
          </a:p>
          <a:p>
            <a:pPr algn="ctr"/>
            <a:r>
              <a:rPr lang="en-GB" sz="1100" dirty="0">
                <a:solidFill>
                  <a:srgbClr val="FFFFFF"/>
                </a:solidFill>
                <a:latin typeface="Aptos" panose="020B0004020202020204" pitchFamily="34" charset="0"/>
              </a:rPr>
              <a:t>Business Mail  </a:t>
            </a:r>
          </a:p>
        </p:txBody>
      </p:sp>
    </p:spTree>
    <p:extLst>
      <p:ext uri="{BB962C8B-B14F-4D97-AF65-F5344CB8AC3E}">
        <p14:creationId xmlns:p14="http://schemas.microsoft.com/office/powerpoint/2010/main" val="43432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25A93D-22F3-1822-4B2F-7231C53B4A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0B0004020202020204" pitchFamily="34" charset="0"/>
              </a:rPr>
              <a:t>1) Ensuring that mail is consistently produced to spec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Aptos" panose="020B0004020202020204" pitchFamily="34" charset="0"/>
              </a:rPr>
              <a:t>We would </a:t>
            </a:r>
            <a:r>
              <a:rPr kumimoji="0" lang="en-GB" sz="1800" b="0" i="0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Aptos" panose="020B0004020202020204" pitchFamily="34" charset="0"/>
              </a:rPr>
              <a:t>provide </a:t>
            </a:r>
            <a:r>
              <a:rPr kumimoji="0" lang="en-GB" sz="18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feedback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as requested on mail piece designs and, where suitable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offer opportunities for customers migrating from 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non-Mailmark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 to Mailmark products to provide quality assurance checks and  automation tests against Royal Mail’s standard testing processes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</a:rPr>
              <a:t>2) Concerns over potential adjustments arising from not meeting the Mailmark spec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</a:rPr>
              <a:t>We will look to extend</a:t>
            </a:r>
            <a:r>
              <a:rPr lang="en-GB" sz="1800" dirty="0">
                <a:latin typeface="Aptos" panose="020B0004020202020204" pitchFamily="34" charset="0"/>
                <a:ea typeface="Calibri" panose="020F0502020204030204" pitchFamily="34" charset="0"/>
              </a:rPr>
              <a:t> the recen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</a:rPr>
              <a:t>amnesty for new Mailmark postings where specific adjustments are excluded, limited to a specific number of postings based on the customer’s mailing pattern and identified through the creation and use of a new Participant ID and associated Supply Chain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+mn-cs"/>
            </a:endParaRPr>
          </a:p>
          <a:p>
            <a:endParaRPr lang="en-GB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36" y="395430"/>
            <a:ext cx="10883356" cy="420413"/>
          </a:xfrm>
        </p:spPr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Continued Support for Customers Migrating to Barcoded Products </a:t>
            </a:r>
            <a:br>
              <a:rPr lang="en-GB" sz="2700" dirty="0">
                <a:latin typeface="Aptos" panose="020B0004020202020204" pitchFamily="34" charset="0"/>
              </a:rPr>
            </a:b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We will continue to provide the following support mechanisms to customers</a:t>
            </a:r>
            <a:endParaRPr lang="en-GB" sz="2700" b="0" dirty="0">
              <a:solidFill>
                <a:schemeClr val="tx1">
                  <a:lumMod val="60000"/>
                  <a:lumOff val="40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79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A3D074-C1ED-DE8F-19AA-6AAEE34B7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26" y="1712075"/>
            <a:ext cx="11628574" cy="3138423"/>
          </a:xfrm>
        </p:spPr>
        <p:txBody>
          <a:bodyPr/>
          <a:lstStyle/>
          <a:p>
            <a:r>
              <a:rPr lang="en-GB" dirty="0">
                <a:latin typeface="Aptos" panose="020B0004020202020204" pitchFamily="34" charset="0"/>
              </a:rPr>
              <a:t>Migration – Price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420043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solidFill>
                  <a:srgbClr val="37373A"/>
                </a:solidFill>
              </a:rPr>
              <a:t>Barcoding Migration options </a:t>
            </a:r>
            <a:r>
              <a:rPr lang="en-GB" sz="2700" dirty="0"/>
              <a:t>Business Mail</a:t>
            </a:r>
            <a:endParaRPr lang="en-GB" sz="27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BA7C7B-0088-7933-F1BC-BAB22C34893E}"/>
              </a:ext>
            </a:extLst>
          </p:cNvPr>
          <p:cNvSpPr/>
          <p:nvPr/>
        </p:nvSpPr>
        <p:spPr>
          <a:xfrm>
            <a:off x="6762984" y="3859224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66.7 to 126.4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54D8CB-761C-CEB3-F5D8-90125C3BB980}"/>
              </a:ext>
            </a:extLst>
          </p:cNvPr>
          <p:cNvSpPr/>
          <p:nvPr/>
        </p:nvSpPr>
        <p:spPr>
          <a:xfrm>
            <a:off x="3980896" y="3852862"/>
            <a:ext cx="1296000" cy="576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76.9 to 148.9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81E190-8325-8D2E-2AAE-0FC6FD90D177}"/>
              </a:ext>
            </a:extLst>
          </p:cNvPr>
          <p:cNvSpPr/>
          <p:nvPr/>
        </p:nvSpPr>
        <p:spPr>
          <a:xfrm>
            <a:off x="8163225" y="3859224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Business Mail Mailmark Large Letter </a:t>
            </a:r>
          </a:p>
        </p:txBody>
      </p:sp>
      <p:pic>
        <p:nvPicPr>
          <p:cNvPr id="33" name="Graphic 32" descr="Qr Code with solid fill">
            <a:extLst>
              <a:ext uri="{FF2B5EF4-FFF2-40B4-BE49-F238E27FC236}">
                <a16:creationId xmlns:a16="http://schemas.microsoft.com/office/drawing/2014/main" id="{A5A9AB27-46CD-9174-3F0D-A643940D1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820" y="3890670"/>
            <a:ext cx="520320" cy="52032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206572D6-4E7E-3D74-1284-BB2690D7FF42}"/>
              </a:ext>
            </a:extLst>
          </p:cNvPr>
          <p:cNvSpPr/>
          <p:nvPr/>
        </p:nvSpPr>
        <p:spPr>
          <a:xfrm>
            <a:off x="230275" y="3854901"/>
            <a:ext cx="3708000" cy="5779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Business Mail Non-Mailmark Large Letter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7AB594-2467-6401-C85B-1149F7B6CA31}"/>
              </a:ext>
            </a:extLst>
          </p:cNvPr>
          <p:cNvCxnSpPr>
            <a:cxnSpLocks/>
            <a:stCxn id="29" idx="3"/>
            <a:endCxn id="24" idx="1"/>
          </p:cNvCxnSpPr>
          <p:nvPr/>
        </p:nvCxnSpPr>
        <p:spPr>
          <a:xfrm>
            <a:off x="5276896" y="4140862"/>
            <a:ext cx="1486088" cy="6362"/>
          </a:xfrm>
          <a:prstGeom prst="straightConnector1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45" descr="Paper with solid fill">
            <a:extLst>
              <a:ext uri="{FF2B5EF4-FFF2-40B4-BE49-F238E27FC236}">
                <a16:creationId xmlns:a16="http://schemas.microsoft.com/office/drawing/2014/main" id="{D3ABB8FF-705B-61E3-974A-4D09F1A36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61603" y="3847947"/>
            <a:ext cx="576001" cy="576001"/>
          </a:xfrm>
          <a:prstGeom prst="rect">
            <a:avLst/>
          </a:prstGeom>
        </p:spPr>
      </p:pic>
      <p:pic>
        <p:nvPicPr>
          <p:cNvPr id="52" name="Graphic 51" descr="Paper with solid fill">
            <a:extLst>
              <a:ext uri="{FF2B5EF4-FFF2-40B4-BE49-F238E27FC236}">
                <a16:creationId xmlns:a16="http://schemas.microsoft.com/office/drawing/2014/main" id="{4EB0042A-B63E-396C-2D61-BB17899653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926" y="3864059"/>
            <a:ext cx="576001" cy="576001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7B7781F2-D9A3-C976-AABF-8D9DD756ED2F}"/>
              </a:ext>
            </a:extLst>
          </p:cNvPr>
          <p:cNvSpPr txBox="1"/>
          <p:nvPr/>
        </p:nvSpPr>
        <p:spPr>
          <a:xfrm>
            <a:off x="5240320" y="3847947"/>
            <a:ext cx="1552182" cy="2228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10.2p to - 22.5p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CFCC91F-8B2D-6BE2-4008-27517C8FE785}"/>
              </a:ext>
            </a:extLst>
          </p:cNvPr>
          <p:cNvGrpSpPr/>
          <p:nvPr/>
        </p:nvGrpSpPr>
        <p:grpSpPr>
          <a:xfrm>
            <a:off x="240739" y="4807978"/>
            <a:ext cx="11676024" cy="625789"/>
            <a:chOff x="220926" y="4962823"/>
            <a:chExt cx="11676024" cy="625789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14:cNvPr>
                <p14:cNvContentPartPr/>
                <p14:nvPr/>
              </p14:nvContentPartPr>
              <p14:xfrm>
                <a:off x="5010912" y="5543224"/>
                <a:ext cx="360" cy="3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001912" y="548922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EF2C9EF-3846-B473-120A-3BD4127B3AE5}"/>
                </a:ext>
              </a:extLst>
            </p:cNvPr>
            <p:cNvSpPr/>
            <p:nvPr/>
          </p:nvSpPr>
          <p:spPr>
            <a:xfrm>
              <a:off x="6762984" y="4974100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D40B6E0-5809-497E-7D74-23D14744DE71}"/>
                </a:ext>
              </a:extLst>
            </p:cNvPr>
            <p:cNvSpPr/>
            <p:nvPr/>
          </p:nvSpPr>
          <p:spPr>
            <a:xfrm>
              <a:off x="3980896" y="4967738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76.9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E7D916DD-C407-9FD8-00F8-69477C3FFE48}"/>
                    </a:ext>
                  </a:extLst>
                </p14:cNvPr>
                <p14:cNvContentPartPr/>
                <p14:nvPr/>
              </p14:nvContentPartPr>
              <p14:xfrm>
                <a:off x="5010912" y="5588252"/>
                <a:ext cx="360" cy="36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E7D916DD-C407-9FD8-00F8-69477C3FFE4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01912" y="5534252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CC810D0-F49A-BC84-8E48-03C97A41D93A}"/>
                </a:ext>
              </a:extLst>
            </p:cNvPr>
            <p:cNvSpPr/>
            <p:nvPr/>
          </p:nvSpPr>
          <p:spPr>
            <a:xfrm>
              <a:off x="8163225" y="4974100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GLL Manual Mailmark Large Letter </a:t>
              </a:r>
            </a:p>
          </p:txBody>
        </p:sp>
        <p:pic>
          <p:nvPicPr>
            <p:cNvPr id="84" name="Graphic 83" descr="Qr Code with solid fill">
              <a:extLst>
                <a:ext uri="{FF2B5EF4-FFF2-40B4-BE49-F238E27FC236}">
                  <a16:creationId xmlns:a16="http://schemas.microsoft.com/office/drawing/2014/main" id="{887D77BC-EA18-6887-E054-C3C225A29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83820" y="5005546"/>
              <a:ext cx="520320" cy="520320"/>
            </a:xfrm>
            <a:prstGeom prst="rect">
              <a:avLst/>
            </a:prstGeom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EE940B8-A696-D913-B188-38403AA8DC83}"/>
                </a:ext>
              </a:extLst>
            </p:cNvPr>
            <p:cNvSpPr/>
            <p:nvPr/>
          </p:nvSpPr>
          <p:spPr>
            <a:xfrm>
              <a:off x="230275" y="4969777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Business Mail Non-Mailmark         Large Letter 0-100g (&gt;13mm thick)</a:t>
              </a:r>
            </a:p>
          </p:txBody>
        </p: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6E66655D-7F60-2124-160A-FB8041F0043C}"/>
                </a:ext>
              </a:extLst>
            </p:cNvPr>
            <p:cNvCxnSpPr>
              <a:cxnSpLocks/>
              <a:stCxn id="67" idx="3"/>
              <a:endCxn id="61" idx="1"/>
            </p:cNvCxnSpPr>
            <p:nvPr/>
          </p:nvCxnSpPr>
          <p:spPr>
            <a:xfrm>
              <a:off x="5276896" y="5255738"/>
              <a:ext cx="1486088" cy="6362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1" name="Graphic 110" descr="Paper with solid fill">
              <a:extLst>
                <a:ext uri="{FF2B5EF4-FFF2-40B4-BE49-F238E27FC236}">
                  <a16:creationId xmlns:a16="http://schemas.microsoft.com/office/drawing/2014/main" id="{E1C23C3E-8DC4-F91F-CA89-CFAFDA666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61603" y="4962823"/>
              <a:ext cx="576001" cy="576001"/>
            </a:xfrm>
            <a:prstGeom prst="rect">
              <a:avLst/>
            </a:prstGeom>
          </p:spPr>
        </p:pic>
        <p:pic>
          <p:nvPicPr>
            <p:cNvPr id="113" name="Graphic 112" descr="Paper with solid fill">
              <a:extLst>
                <a:ext uri="{FF2B5EF4-FFF2-40B4-BE49-F238E27FC236}">
                  <a16:creationId xmlns:a16="http://schemas.microsoft.com/office/drawing/2014/main" id="{9C127F53-F8CA-4D3E-68CC-3C81A84D7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0926" y="4978935"/>
              <a:ext cx="576001" cy="576001"/>
            </a:xfrm>
            <a:prstGeom prst="rect">
              <a:avLst/>
            </a:prstGeom>
          </p:spPr>
        </p:pic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FD365D8C-7547-E9D1-A58A-3F02515D857F}"/>
                </a:ext>
              </a:extLst>
            </p:cNvPr>
            <p:cNvSpPr txBox="1"/>
            <p:nvPr/>
          </p:nvSpPr>
          <p:spPr>
            <a:xfrm>
              <a:off x="5230158" y="4988312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27.1p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06C5CB1-DC63-78F5-7323-26253E5AFFA4}"/>
              </a:ext>
            </a:extLst>
          </p:cNvPr>
          <p:cNvSpPr/>
          <p:nvPr/>
        </p:nvSpPr>
        <p:spPr>
          <a:xfrm>
            <a:off x="3971547" y="1744215"/>
            <a:ext cx="1296000" cy="576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73.9p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672A67D-9558-FC81-C411-6181B306E680}"/>
              </a:ext>
            </a:extLst>
          </p:cNvPr>
          <p:cNvGrpSpPr/>
          <p:nvPr/>
        </p:nvGrpSpPr>
        <p:grpSpPr>
          <a:xfrm>
            <a:off x="6762984" y="1412971"/>
            <a:ext cx="5133966" cy="586158"/>
            <a:chOff x="6753635" y="1164385"/>
            <a:chExt cx="5133966" cy="58615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516D5EA-C850-5537-E785-F5A0FB23848C}"/>
                </a:ext>
              </a:extLst>
            </p:cNvPr>
            <p:cNvSpPr/>
            <p:nvPr/>
          </p:nvSpPr>
          <p:spPr>
            <a:xfrm>
              <a:off x="6753635" y="1174544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63.8p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472303-E413-B18A-A300-4C97DB97CB34}"/>
                </a:ext>
              </a:extLst>
            </p:cNvPr>
            <p:cNvSpPr/>
            <p:nvPr/>
          </p:nvSpPr>
          <p:spPr>
            <a:xfrm>
              <a:off x="8153876" y="1174544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Standard Business Mail </a:t>
              </a:r>
            </a:p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Mailmark Letter </a:t>
              </a:r>
            </a:p>
          </p:txBody>
        </p:sp>
        <p:pic>
          <p:nvPicPr>
            <p:cNvPr id="49" name="Graphic 48" descr="Envelope outline">
              <a:extLst>
                <a:ext uri="{FF2B5EF4-FFF2-40B4-BE49-F238E27FC236}">
                  <a16:creationId xmlns:a16="http://schemas.microsoft.com/office/drawing/2014/main" id="{30A7A842-0109-669F-C570-4DF1263AE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43717" y="1164385"/>
              <a:ext cx="576000" cy="576000"/>
            </a:xfrm>
            <a:prstGeom prst="rect">
              <a:avLst/>
            </a:prstGeom>
          </p:spPr>
        </p:pic>
        <p:pic>
          <p:nvPicPr>
            <p:cNvPr id="53" name="Graphic 52" descr="Qr Code with solid fill">
              <a:extLst>
                <a:ext uri="{FF2B5EF4-FFF2-40B4-BE49-F238E27FC236}">
                  <a16:creationId xmlns:a16="http://schemas.microsoft.com/office/drawing/2014/main" id="{0BD5A655-17BD-FFCE-59FA-CDC1DA8EC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74471" y="1205990"/>
              <a:ext cx="520320" cy="520320"/>
            </a:xfrm>
            <a:prstGeom prst="rect">
              <a:avLst/>
            </a:prstGeom>
          </p:spPr>
        </p:pic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7B654982-8603-5E66-52EE-03137277C93C}"/>
              </a:ext>
            </a:extLst>
          </p:cNvPr>
          <p:cNvSpPr/>
          <p:nvPr/>
        </p:nvSpPr>
        <p:spPr>
          <a:xfrm>
            <a:off x="220926" y="1746254"/>
            <a:ext cx="3708000" cy="5779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Standard Business Mail</a:t>
            </a:r>
          </a:p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Non-Mailmark Letter</a:t>
            </a:r>
          </a:p>
        </p:txBody>
      </p:sp>
      <p:pic>
        <p:nvPicPr>
          <p:cNvPr id="70" name="Graphic 69" descr="Envelope outline">
            <a:extLst>
              <a:ext uri="{FF2B5EF4-FFF2-40B4-BE49-F238E27FC236}">
                <a16:creationId xmlns:a16="http://schemas.microsoft.com/office/drawing/2014/main" id="{F0A9137B-39EE-B79B-953F-D40048637E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30427" y="1744215"/>
            <a:ext cx="576000" cy="576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7B11EB-FC6E-916E-21DC-9351EDAFADDE}"/>
              </a:ext>
            </a:extLst>
          </p:cNvPr>
          <p:cNvSpPr txBox="1"/>
          <p:nvPr/>
        </p:nvSpPr>
        <p:spPr>
          <a:xfrm>
            <a:off x="5963479" y="1434162"/>
            <a:ext cx="808854" cy="232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10.1p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ECEBE6B-3757-6508-FB1A-780EBF16AF90}"/>
              </a:ext>
            </a:extLst>
          </p:cNvPr>
          <p:cNvGrpSpPr/>
          <p:nvPr/>
        </p:nvGrpSpPr>
        <p:grpSpPr>
          <a:xfrm>
            <a:off x="6753635" y="2089055"/>
            <a:ext cx="5133966" cy="586158"/>
            <a:chOff x="6753635" y="2255787"/>
            <a:chExt cx="5133966" cy="586158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37E9E398-260F-23FE-CCFE-541A8B5BBD74}"/>
                </a:ext>
              </a:extLst>
            </p:cNvPr>
            <p:cNvSpPr/>
            <p:nvPr/>
          </p:nvSpPr>
          <p:spPr>
            <a:xfrm>
              <a:off x="6753635" y="2265946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54.5p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AC2FFFFE-B1D8-D7DD-6890-5020B6792745}"/>
                </a:ext>
              </a:extLst>
            </p:cNvPr>
            <p:cNvSpPr/>
            <p:nvPr/>
          </p:nvSpPr>
          <p:spPr>
            <a:xfrm>
              <a:off x="8153876" y="2265946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Economy Business Mail</a:t>
              </a:r>
            </a:p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Mailmark Letter </a:t>
              </a:r>
            </a:p>
          </p:txBody>
        </p:sp>
        <p:pic>
          <p:nvPicPr>
            <p:cNvPr id="128" name="Graphic 127" descr="Envelope outline">
              <a:extLst>
                <a:ext uri="{FF2B5EF4-FFF2-40B4-BE49-F238E27FC236}">
                  <a16:creationId xmlns:a16="http://schemas.microsoft.com/office/drawing/2014/main" id="{7E5CB219-9E75-36B4-E5A6-6A8B3C105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43717" y="2255787"/>
              <a:ext cx="576000" cy="576000"/>
            </a:xfrm>
            <a:prstGeom prst="rect">
              <a:avLst/>
            </a:prstGeom>
          </p:spPr>
        </p:pic>
        <p:pic>
          <p:nvPicPr>
            <p:cNvPr id="129" name="Graphic 128" descr="Qr Code with solid fill">
              <a:extLst>
                <a:ext uri="{FF2B5EF4-FFF2-40B4-BE49-F238E27FC236}">
                  <a16:creationId xmlns:a16="http://schemas.microsoft.com/office/drawing/2014/main" id="{825536D9-AC08-5CFA-3D9A-1914C45061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74471" y="2297392"/>
              <a:ext cx="520320" cy="520320"/>
            </a:xfrm>
            <a:prstGeom prst="rect">
              <a:avLst/>
            </a:prstGeom>
          </p:spPr>
        </p:pic>
      </p:grpSp>
      <p:cxnSp>
        <p:nvCxnSpPr>
          <p:cNvPr id="133" name="Connector: Curved 132">
            <a:extLst>
              <a:ext uri="{FF2B5EF4-FFF2-40B4-BE49-F238E27FC236}">
                <a16:creationId xmlns:a16="http://schemas.microsoft.com/office/drawing/2014/main" id="{AF96A6F9-A6C6-DA4E-6412-00E48C2180E9}"/>
              </a:ext>
            </a:extLst>
          </p:cNvPr>
          <p:cNvCxnSpPr>
            <a:cxnSpLocks/>
            <a:stCxn id="26" idx="3"/>
            <a:endCxn id="4" idx="1"/>
          </p:cNvCxnSpPr>
          <p:nvPr/>
        </p:nvCxnSpPr>
        <p:spPr>
          <a:xfrm flipV="1">
            <a:off x="5267547" y="1711130"/>
            <a:ext cx="1495437" cy="321085"/>
          </a:xfrm>
          <a:prstGeom prst="curvedConnector3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Curved 138">
            <a:extLst>
              <a:ext uri="{FF2B5EF4-FFF2-40B4-BE49-F238E27FC236}">
                <a16:creationId xmlns:a16="http://schemas.microsoft.com/office/drawing/2014/main" id="{3D85BA57-A787-95A8-9721-EB239850D423}"/>
              </a:ext>
            </a:extLst>
          </p:cNvPr>
          <p:cNvCxnSpPr>
            <a:cxnSpLocks/>
            <a:stCxn id="26" idx="3"/>
            <a:endCxn id="126" idx="1"/>
          </p:cNvCxnSpPr>
          <p:nvPr/>
        </p:nvCxnSpPr>
        <p:spPr>
          <a:xfrm>
            <a:off x="5267547" y="2032215"/>
            <a:ext cx="1486088" cy="354999"/>
          </a:xfrm>
          <a:prstGeom prst="curvedConnector3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F6D12CE5-61F1-77CF-8078-33F68E566475}"/>
              </a:ext>
            </a:extLst>
          </p:cNvPr>
          <p:cNvSpPr txBox="1"/>
          <p:nvPr/>
        </p:nvSpPr>
        <p:spPr>
          <a:xfrm>
            <a:off x="5993299" y="2043492"/>
            <a:ext cx="808854" cy="232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19.5p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4DC52D8E-5BDF-CE09-03DB-3E80506A847E}"/>
              </a:ext>
            </a:extLst>
          </p:cNvPr>
          <p:cNvSpPr txBox="1"/>
          <p:nvPr/>
        </p:nvSpPr>
        <p:spPr>
          <a:xfrm>
            <a:off x="558256" y="1029788"/>
            <a:ext cx="6094476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tx1">
                    <a:lumMod val="75000"/>
                  </a:schemeClr>
                </a:solidFill>
              </a:rPr>
              <a:t>Jan 2026 postage rat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BFC8066-76B6-7543-BE0D-AA39AECF475E}"/>
              </a:ext>
            </a:extLst>
          </p:cNvPr>
          <p:cNvGrpSpPr/>
          <p:nvPr/>
        </p:nvGrpSpPr>
        <p:grpSpPr>
          <a:xfrm>
            <a:off x="230275" y="5501657"/>
            <a:ext cx="11676024" cy="625789"/>
            <a:chOff x="220926" y="4962823"/>
            <a:chExt cx="11676024" cy="625789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A1B262D1-CD5A-C988-D6B3-C5E0C41833AD}"/>
                    </a:ext>
                  </a:extLst>
                </p14:cNvPr>
                <p14:cNvContentPartPr/>
                <p14:nvPr/>
              </p14:nvContentPartPr>
              <p14:xfrm>
                <a:off x="5010912" y="5543224"/>
                <a:ext cx="360" cy="36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A1B262D1-CD5A-C988-D6B3-C5E0C41833A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001912" y="548922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56CBC7-608E-DC31-96DE-4FA211AF694F}"/>
                </a:ext>
              </a:extLst>
            </p:cNvPr>
            <p:cNvSpPr/>
            <p:nvPr/>
          </p:nvSpPr>
          <p:spPr>
            <a:xfrm>
              <a:off x="6762984" y="4974100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20C7782-285D-25BD-8951-C31BB5895355}"/>
                </a:ext>
              </a:extLst>
            </p:cNvPr>
            <p:cNvSpPr/>
            <p:nvPr/>
          </p:nvSpPr>
          <p:spPr>
            <a:xfrm>
              <a:off x="3980896" y="4967738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99.6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E5E89303-639F-A217-A7F0-FDC477F53032}"/>
                    </a:ext>
                  </a:extLst>
                </p14:cNvPr>
                <p14:cNvContentPartPr/>
                <p14:nvPr/>
              </p14:nvContentPartPr>
              <p14:xfrm>
                <a:off x="5010912" y="5588252"/>
                <a:ext cx="360" cy="36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E5E89303-639F-A217-A7F0-FDC477F5303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001912" y="5534252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30F57C9-5DC8-CE09-7E95-6808391D5B4F}"/>
                </a:ext>
              </a:extLst>
            </p:cNvPr>
            <p:cNvSpPr/>
            <p:nvPr/>
          </p:nvSpPr>
          <p:spPr>
            <a:xfrm>
              <a:off x="8163225" y="4974100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GLL Manual Mailmark Large Letter </a:t>
              </a:r>
            </a:p>
          </p:txBody>
        </p:sp>
        <p:pic>
          <p:nvPicPr>
            <p:cNvPr id="28" name="Graphic 27" descr="Qr Code with solid fill">
              <a:extLst>
                <a:ext uri="{FF2B5EF4-FFF2-40B4-BE49-F238E27FC236}">
                  <a16:creationId xmlns:a16="http://schemas.microsoft.com/office/drawing/2014/main" id="{1B231C41-B639-B9DD-30BF-7C22630C6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83820" y="5005546"/>
              <a:ext cx="520320" cy="520320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936D6C2-3302-07F7-D1D8-21FE78D25E72}"/>
                </a:ext>
              </a:extLst>
            </p:cNvPr>
            <p:cNvSpPr/>
            <p:nvPr/>
          </p:nvSpPr>
          <p:spPr>
            <a:xfrm>
              <a:off x="230275" y="4969777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Business Mail Non-Mailmark         Large Letter 101-250g (&gt;13mm thick)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FBD8748F-34B3-57A2-E684-F9FAE1481180}"/>
                </a:ext>
              </a:extLst>
            </p:cNvPr>
            <p:cNvCxnSpPr>
              <a:cxnSpLocks/>
              <a:stCxn id="23" idx="3"/>
              <a:endCxn id="22" idx="1"/>
            </p:cNvCxnSpPr>
            <p:nvPr/>
          </p:nvCxnSpPr>
          <p:spPr>
            <a:xfrm>
              <a:off x="5276896" y="5255738"/>
              <a:ext cx="1486088" cy="6362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Graphic 35" descr="Paper with solid fill">
              <a:extLst>
                <a:ext uri="{FF2B5EF4-FFF2-40B4-BE49-F238E27FC236}">
                  <a16:creationId xmlns:a16="http://schemas.microsoft.com/office/drawing/2014/main" id="{D2A4293F-EF90-EB7D-D0AD-3D2E4F844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61603" y="4962823"/>
              <a:ext cx="576001" cy="576001"/>
            </a:xfrm>
            <a:prstGeom prst="rect">
              <a:avLst/>
            </a:prstGeom>
          </p:spPr>
        </p:pic>
        <p:pic>
          <p:nvPicPr>
            <p:cNvPr id="37" name="Graphic 36" descr="Paper with solid fill">
              <a:extLst>
                <a:ext uri="{FF2B5EF4-FFF2-40B4-BE49-F238E27FC236}">
                  <a16:creationId xmlns:a16="http://schemas.microsoft.com/office/drawing/2014/main" id="{4A1B7B55-ED9B-E13C-F4F4-4943A2E6E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0926" y="4978935"/>
              <a:ext cx="576001" cy="576001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0F11A1B-43B9-4B63-B024-B1825EDDDC34}"/>
                </a:ext>
              </a:extLst>
            </p:cNvPr>
            <p:cNvSpPr txBox="1"/>
            <p:nvPr/>
          </p:nvSpPr>
          <p:spPr>
            <a:xfrm>
              <a:off x="5230158" y="4988312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4.4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98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solidFill>
                  <a:srgbClr val="37373A"/>
                </a:solidFill>
              </a:rPr>
              <a:t>Barcoding Migration options </a:t>
            </a:r>
            <a:r>
              <a:rPr lang="en-GB" sz="2700" dirty="0"/>
              <a:t>Advertising Mail</a:t>
            </a:r>
            <a:br>
              <a:rPr lang="en-GB" sz="2700" dirty="0"/>
            </a:br>
            <a:endParaRPr lang="en-GB" sz="27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BA7C7B-0088-7933-F1BC-BAB22C34893E}"/>
              </a:ext>
            </a:extLst>
          </p:cNvPr>
          <p:cNvSpPr/>
          <p:nvPr/>
        </p:nvSpPr>
        <p:spPr>
          <a:xfrm>
            <a:off x="6762984" y="3859224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1"/>
                </a:solidFill>
              </a:rPr>
              <a:t>34.2 to </a:t>
            </a:r>
          </a:p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81.1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54D8CB-761C-CEB3-F5D8-90125C3BB980}"/>
              </a:ext>
            </a:extLst>
          </p:cNvPr>
          <p:cNvSpPr/>
          <p:nvPr/>
        </p:nvSpPr>
        <p:spPr>
          <a:xfrm>
            <a:off x="3980896" y="3852862"/>
            <a:ext cx="1296000" cy="576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42.1 to 99.8p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81E190-8325-8D2E-2AAE-0FC6FD90D177}"/>
              </a:ext>
            </a:extLst>
          </p:cNvPr>
          <p:cNvSpPr/>
          <p:nvPr/>
        </p:nvSpPr>
        <p:spPr>
          <a:xfrm>
            <a:off x="8163225" y="3859224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Advertising Mail Mailmark</a:t>
            </a:r>
          </a:p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Large Letter </a:t>
            </a:r>
          </a:p>
        </p:txBody>
      </p:sp>
      <p:pic>
        <p:nvPicPr>
          <p:cNvPr id="33" name="Graphic 32" descr="Qr Code with solid fill">
            <a:extLst>
              <a:ext uri="{FF2B5EF4-FFF2-40B4-BE49-F238E27FC236}">
                <a16:creationId xmlns:a16="http://schemas.microsoft.com/office/drawing/2014/main" id="{A5A9AB27-46CD-9174-3F0D-A643940D1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820" y="3890670"/>
            <a:ext cx="520320" cy="52032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206572D6-4E7E-3D74-1284-BB2690D7FF42}"/>
              </a:ext>
            </a:extLst>
          </p:cNvPr>
          <p:cNvSpPr/>
          <p:nvPr/>
        </p:nvSpPr>
        <p:spPr>
          <a:xfrm>
            <a:off x="230275" y="3854901"/>
            <a:ext cx="3708000" cy="5779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Advertising Mail Non-Mailmark</a:t>
            </a:r>
          </a:p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Large Letter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7AB594-2467-6401-C85B-1149F7B6CA31}"/>
              </a:ext>
            </a:extLst>
          </p:cNvPr>
          <p:cNvCxnSpPr>
            <a:cxnSpLocks/>
            <a:stCxn id="29" idx="3"/>
            <a:endCxn id="24" idx="1"/>
          </p:cNvCxnSpPr>
          <p:nvPr/>
        </p:nvCxnSpPr>
        <p:spPr>
          <a:xfrm>
            <a:off x="5276896" y="4140862"/>
            <a:ext cx="1486088" cy="6362"/>
          </a:xfrm>
          <a:prstGeom prst="straightConnector1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45" descr="Paper with solid fill">
            <a:extLst>
              <a:ext uri="{FF2B5EF4-FFF2-40B4-BE49-F238E27FC236}">
                <a16:creationId xmlns:a16="http://schemas.microsoft.com/office/drawing/2014/main" id="{D3ABB8FF-705B-61E3-974A-4D09F1A36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61603" y="3847947"/>
            <a:ext cx="576001" cy="576001"/>
          </a:xfrm>
          <a:prstGeom prst="rect">
            <a:avLst/>
          </a:prstGeom>
        </p:spPr>
      </p:pic>
      <p:pic>
        <p:nvPicPr>
          <p:cNvPr id="52" name="Graphic 51" descr="Paper with solid fill">
            <a:extLst>
              <a:ext uri="{FF2B5EF4-FFF2-40B4-BE49-F238E27FC236}">
                <a16:creationId xmlns:a16="http://schemas.microsoft.com/office/drawing/2014/main" id="{4EB0042A-B63E-396C-2D61-BB17899653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926" y="3864059"/>
            <a:ext cx="576001" cy="576001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7B7781F2-D9A3-C976-AABF-8D9DD756ED2F}"/>
              </a:ext>
            </a:extLst>
          </p:cNvPr>
          <p:cNvSpPr txBox="1"/>
          <p:nvPr/>
        </p:nvSpPr>
        <p:spPr>
          <a:xfrm>
            <a:off x="5240320" y="3847947"/>
            <a:ext cx="1552182" cy="2228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7.9 to - 18.8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57ECA6-9EDD-37C1-7D43-A5497CA041D3}"/>
              </a:ext>
            </a:extLst>
          </p:cNvPr>
          <p:cNvGrpSpPr/>
          <p:nvPr/>
        </p:nvGrpSpPr>
        <p:grpSpPr>
          <a:xfrm>
            <a:off x="243029" y="4800020"/>
            <a:ext cx="11676024" cy="625789"/>
            <a:chOff x="220926" y="4962823"/>
            <a:chExt cx="11676024" cy="625789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14:cNvPr>
                <p14:cNvContentPartPr/>
                <p14:nvPr/>
              </p14:nvContentPartPr>
              <p14:xfrm>
                <a:off x="5010912" y="5543224"/>
                <a:ext cx="360" cy="3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001912" y="548922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EF2C9EF-3846-B473-120A-3BD4127B3AE5}"/>
                </a:ext>
              </a:extLst>
            </p:cNvPr>
            <p:cNvSpPr/>
            <p:nvPr/>
          </p:nvSpPr>
          <p:spPr>
            <a:xfrm>
              <a:off x="6762984" y="4974100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D40B6E0-5809-497E-7D74-23D14744DE71}"/>
                </a:ext>
              </a:extLst>
            </p:cNvPr>
            <p:cNvSpPr/>
            <p:nvPr/>
          </p:nvSpPr>
          <p:spPr>
            <a:xfrm>
              <a:off x="3980896" y="4967738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42.1p 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E7D916DD-C407-9FD8-00F8-69477C3FFE48}"/>
                    </a:ext>
                  </a:extLst>
                </p14:cNvPr>
                <p14:cNvContentPartPr/>
                <p14:nvPr/>
              </p14:nvContentPartPr>
              <p14:xfrm>
                <a:off x="5010912" y="5588252"/>
                <a:ext cx="360" cy="36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E7D916DD-C407-9FD8-00F8-69477C3FFE4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01912" y="5534252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CC810D0-F49A-BC84-8E48-03C97A41D93A}"/>
                </a:ext>
              </a:extLst>
            </p:cNvPr>
            <p:cNvSpPr/>
            <p:nvPr/>
          </p:nvSpPr>
          <p:spPr>
            <a:xfrm>
              <a:off x="8163225" y="4974100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GLL Manual Mailmark</a:t>
              </a:r>
            </a:p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Large Letter </a:t>
              </a:r>
            </a:p>
          </p:txBody>
        </p:sp>
        <p:pic>
          <p:nvPicPr>
            <p:cNvPr id="84" name="Graphic 83" descr="Qr Code with solid fill">
              <a:extLst>
                <a:ext uri="{FF2B5EF4-FFF2-40B4-BE49-F238E27FC236}">
                  <a16:creationId xmlns:a16="http://schemas.microsoft.com/office/drawing/2014/main" id="{887D77BC-EA18-6887-E054-C3C225A29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83820" y="5005546"/>
              <a:ext cx="520320" cy="520320"/>
            </a:xfrm>
            <a:prstGeom prst="rect">
              <a:avLst/>
            </a:prstGeom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EE940B8-A696-D913-B188-38403AA8DC83}"/>
                </a:ext>
              </a:extLst>
            </p:cNvPr>
            <p:cNvSpPr/>
            <p:nvPr/>
          </p:nvSpPr>
          <p:spPr>
            <a:xfrm>
              <a:off x="230275" y="4969777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Advertising Mail Non-Mailmark</a:t>
              </a:r>
            </a:p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Large Letter 0-100g  (&gt;13mm thick)</a:t>
              </a:r>
            </a:p>
          </p:txBody>
        </p: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6E66655D-7F60-2124-160A-FB8041F0043C}"/>
                </a:ext>
              </a:extLst>
            </p:cNvPr>
            <p:cNvCxnSpPr>
              <a:cxnSpLocks/>
              <a:stCxn id="67" idx="3"/>
              <a:endCxn id="61" idx="1"/>
            </p:cNvCxnSpPr>
            <p:nvPr/>
          </p:nvCxnSpPr>
          <p:spPr>
            <a:xfrm>
              <a:off x="5276896" y="5255738"/>
              <a:ext cx="1486088" cy="6362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1" name="Graphic 110" descr="Paper with solid fill">
              <a:extLst>
                <a:ext uri="{FF2B5EF4-FFF2-40B4-BE49-F238E27FC236}">
                  <a16:creationId xmlns:a16="http://schemas.microsoft.com/office/drawing/2014/main" id="{E1C23C3E-8DC4-F91F-CA89-CFAFDA666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61603" y="4962823"/>
              <a:ext cx="576001" cy="576001"/>
            </a:xfrm>
            <a:prstGeom prst="rect">
              <a:avLst/>
            </a:prstGeom>
          </p:spPr>
        </p:pic>
        <p:pic>
          <p:nvPicPr>
            <p:cNvPr id="113" name="Graphic 112" descr="Paper with solid fill">
              <a:extLst>
                <a:ext uri="{FF2B5EF4-FFF2-40B4-BE49-F238E27FC236}">
                  <a16:creationId xmlns:a16="http://schemas.microsoft.com/office/drawing/2014/main" id="{9C127F53-F8CA-4D3E-68CC-3C81A84D7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0926" y="4978935"/>
              <a:ext cx="576001" cy="576001"/>
            </a:xfrm>
            <a:prstGeom prst="rect">
              <a:avLst/>
            </a:prstGeom>
          </p:spPr>
        </p:pic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FD365D8C-7547-E9D1-A58A-3F02515D857F}"/>
                </a:ext>
              </a:extLst>
            </p:cNvPr>
            <p:cNvSpPr txBox="1"/>
            <p:nvPr/>
          </p:nvSpPr>
          <p:spPr>
            <a:xfrm>
              <a:off x="5230158" y="4988312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61.9p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055D6AF-169F-54E7-D53A-ECAA0F150794}"/>
              </a:ext>
            </a:extLst>
          </p:cNvPr>
          <p:cNvSpPr txBox="1"/>
          <p:nvPr/>
        </p:nvSpPr>
        <p:spPr>
          <a:xfrm>
            <a:off x="558256" y="1029788"/>
            <a:ext cx="6094476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tx1">
                    <a:lumMod val="75000"/>
                  </a:schemeClr>
                </a:solidFill>
              </a:rPr>
              <a:t>Jan 2026 postage rat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9DF9F7F-20F1-66BA-D796-56E6668429C9}"/>
              </a:ext>
            </a:extLst>
          </p:cNvPr>
          <p:cNvGrpSpPr/>
          <p:nvPr/>
        </p:nvGrpSpPr>
        <p:grpSpPr>
          <a:xfrm>
            <a:off x="233680" y="5481880"/>
            <a:ext cx="11676024" cy="625789"/>
            <a:chOff x="220926" y="4962823"/>
            <a:chExt cx="11676024" cy="625789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305A251B-D54C-1F0A-599F-2CC7317F51E0}"/>
                    </a:ext>
                  </a:extLst>
                </p14:cNvPr>
                <p14:cNvContentPartPr/>
                <p14:nvPr/>
              </p14:nvContentPartPr>
              <p14:xfrm>
                <a:off x="5010912" y="5543224"/>
                <a:ext cx="360" cy="36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305A251B-D54C-1F0A-599F-2CC7317F51E0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001912" y="548922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B70A66F-B175-08F9-2F8A-88E89984F50F}"/>
                </a:ext>
              </a:extLst>
            </p:cNvPr>
            <p:cNvSpPr/>
            <p:nvPr/>
          </p:nvSpPr>
          <p:spPr>
            <a:xfrm>
              <a:off x="6762984" y="4974100"/>
              <a:ext cx="1347138" cy="57599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8D5603-B8B5-1E98-7ADE-325669DAB9B1}"/>
                </a:ext>
              </a:extLst>
            </p:cNvPr>
            <p:cNvSpPr/>
            <p:nvPr/>
          </p:nvSpPr>
          <p:spPr>
            <a:xfrm>
              <a:off x="3980896" y="4967738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48.8p 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A3E58D63-A012-450D-9430-4AFF66BC6526}"/>
                    </a:ext>
                  </a:extLst>
                </p14:cNvPr>
                <p14:cNvContentPartPr/>
                <p14:nvPr/>
              </p14:nvContentPartPr>
              <p14:xfrm>
                <a:off x="5010912" y="5588252"/>
                <a:ext cx="360" cy="3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A3E58D63-A012-450D-9430-4AFF66BC6526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001912" y="5534252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591B49-EF70-9029-165C-C5E61276BA14}"/>
                </a:ext>
              </a:extLst>
            </p:cNvPr>
            <p:cNvSpPr/>
            <p:nvPr/>
          </p:nvSpPr>
          <p:spPr>
            <a:xfrm>
              <a:off x="8163225" y="4974100"/>
              <a:ext cx="3733725" cy="56289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GLL Manual Mailmark</a:t>
              </a:r>
            </a:p>
            <a:p>
              <a:pPr marL="900000" algn="ctr"/>
              <a:r>
                <a:rPr lang="en-GB" sz="1400" b="1" dirty="0">
                  <a:solidFill>
                    <a:schemeClr val="tx1"/>
                  </a:solidFill>
                </a:rPr>
                <a:t>Large Letter </a:t>
              </a:r>
            </a:p>
          </p:txBody>
        </p:sp>
        <p:pic>
          <p:nvPicPr>
            <p:cNvPr id="13" name="Graphic 12" descr="Qr Code with solid fill">
              <a:extLst>
                <a:ext uri="{FF2B5EF4-FFF2-40B4-BE49-F238E27FC236}">
                  <a16:creationId xmlns:a16="http://schemas.microsoft.com/office/drawing/2014/main" id="{99A5AE54-F55D-51C6-6EE0-58D369C67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83820" y="5005546"/>
              <a:ext cx="520320" cy="52032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00D59FA-816D-70CC-3E19-925428237E38}"/>
                </a:ext>
              </a:extLst>
            </p:cNvPr>
            <p:cNvSpPr/>
            <p:nvPr/>
          </p:nvSpPr>
          <p:spPr>
            <a:xfrm>
              <a:off x="230275" y="4969777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Advertising Mail Non-Mailmark</a:t>
              </a:r>
            </a:p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Large Letter 101-250g (&gt;13mm thick)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656451C-3FA4-7C20-57E1-EC1DCEB0B5D0}"/>
                </a:ext>
              </a:extLst>
            </p:cNvPr>
            <p:cNvCxnSpPr>
              <a:cxnSpLocks/>
              <a:stCxn id="10" idx="3"/>
              <a:endCxn id="9" idx="1"/>
            </p:cNvCxnSpPr>
            <p:nvPr/>
          </p:nvCxnSpPr>
          <p:spPr>
            <a:xfrm>
              <a:off x="5276896" y="5255738"/>
              <a:ext cx="1486088" cy="6362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phic 15" descr="Paper with solid fill">
              <a:extLst>
                <a:ext uri="{FF2B5EF4-FFF2-40B4-BE49-F238E27FC236}">
                  <a16:creationId xmlns:a16="http://schemas.microsoft.com/office/drawing/2014/main" id="{B1F78797-9BEA-DE43-9AA1-44E5E10A14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61603" y="4962823"/>
              <a:ext cx="576001" cy="576001"/>
            </a:xfrm>
            <a:prstGeom prst="rect">
              <a:avLst/>
            </a:prstGeom>
          </p:spPr>
        </p:pic>
        <p:pic>
          <p:nvPicPr>
            <p:cNvPr id="17" name="Graphic 16" descr="Paper with solid fill">
              <a:extLst>
                <a:ext uri="{FF2B5EF4-FFF2-40B4-BE49-F238E27FC236}">
                  <a16:creationId xmlns:a16="http://schemas.microsoft.com/office/drawing/2014/main" id="{49915CC9-E893-E5E7-DFF1-E7506A141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0926" y="4978935"/>
              <a:ext cx="576001" cy="576001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DC75BAB-C3BE-CB9F-50D8-8572EAB85332}"/>
                </a:ext>
              </a:extLst>
            </p:cNvPr>
            <p:cNvSpPr txBox="1"/>
            <p:nvPr/>
          </p:nvSpPr>
          <p:spPr>
            <a:xfrm>
              <a:off x="5230158" y="4988312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55.2p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516D5EA-C850-5537-E785-F5A0FB23848C}"/>
              </a:ext>
            </a:extLst>
          </p:cNvPr>
          <p:cNvSpPr/>
          <p:nvPr/>
        </p:nvSpPr>
        <p:spPr>
          <a:xfrm>
            <a:off x="6762984" y="1301147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27.6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6C5CB1-DC63-78F5-7323-26253E5AFFA4}"/>
              </a:ext>
            </a:extLst>
          </p:cNvPr>
          <p:cNvSpPr/>
          <p:nvPr/>
        </p:nvSpPr>
        <p:spPr>
          <a:xfrm>
            <a:off x="3980896" y="1870818"/>
            <a:ext cx="1296000" cy="576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35.1p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0472303-E413-B18A-A300-4C97DB97CB34}"/>
              </a:ext>
            </a:extLst>
          </p:cNvPr>
          <p:cNvSpPr/>
          <p:nvPr/>
        </p:nvSpPr>
        <p:spPr>
          <a:xfrm>
            <a:off x="8163225" y="1301147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Standard Advertising Mail </a:t>
            </a:r>
          </a:p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Mailmark Letter </a:t>
            </a:r>
          </a:p>
        </p:txBody>
      </p:sp>
      <p:pic>
        <p:nvPicPr>
          <p:cNvPr id="49" name="Graphic 48" descr="Envelope outline">
            <a:extLst>
              <a:ext uri="{FF2B5EF4-FFF2-40B4-BE49-F238E27FC236}">
                <a16:creationId xmlns:a16="http://schemas.microsoft.com/office/drawing/2014/main" id="{30A7A842-0109-669F-C570-4DF1263AE3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153066" y="1290988"/>
            <a:ext cx="576000" cy="576000"/>
          </a:xfrm>
          <a:prstGeom prst="rect">
            <a:avLst/>
          </a:prstGeom>
        </p:spPr>
      </p:pic>
      <p:pic>
        <p:nvPicPr>
          <p:cNvPr id="53" name="Graphic 52" descr="Qr Code with solid fill">
            <a:extLst>
              <a:ext uri="{FF2B5EF4-FFF2-40B4-BE49-F238E27FC236}">
                <a16:creationId xmlns:a16="http://schemas.microsoft.com/office/drawing/2014/main" id="{0BD5A655-17BD-FFCE-59FA-CDC1DA8EC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820" y="1332593"/>
            <a:ext cx="520320" cy="520320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7B654982-8603-5E66-52EE-03137277C93C}"/>
              </a:ext>
            </a:extLst>
          </p:cNvPr>
          <p:cNvSpPr/>
          <p:nvPr/>
        </p:nvSpPr>
        <p:spPr>
          <a:xfrm>
            <a:off x="230275" y="1872857"/>
            <a:ext cx="3708000" cy="5779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Standard Advertising Mail</a:t>
            </a:r>
          </a:p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Non-Mailmark Letter</a:t>
            </a:r>
          </a:p>
        </p:txBody>
      </p:sp>
      <p:pic>
        <p:nvPicPr>
          <p:cNvPr id="70" name="Graphic 69" descr="Envelope outline">
            <a:extLst>
              <a:ext uri="{FF2B5EF4-FFF2-40B4-BE49-F238E27FC236}">
                <a16:creationId xmlns:a16="http://schemas.microsoft.com/office/drawing/2014/main" id="{F0A9137B-39EE-B79B-953F-D40048637EB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9776" y="1870818"/>
            <a:ext cx="576000" cy="576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7B11EB-FC6E-916E-21DC-9351EDAFADDE}"/>
              </a:ext>
            </a:extLst>
          </p:cNvPr>
          <p:cNvSpPr txBox="1"/>
          <p:nvPr/>
        </p:nvSpPr>
        <p:spPr>
          <a:xfrm>
            <a:off x="5441209" y="1525993"/>
            <a:ext cx="808854" cy="232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7.5p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7E9E398-260F-23FE-CCFE-541A8B5BBD74}"/>
              </a:ext>
            </a:extLst>
          </p:cNvPr>
          <p:cNvSpPr/>
          <p:nvPr/>
        </p:nvSpPr>
        <p:spPr>
          <a:xfrm>
            <a:off x="6762984" y="2047956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23.5p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C2FFFFE-B1D8-D7DD-6890-5020B6792745}"/>
              </a:ext>
            </a:extLst>
          </p:cNvPr>
          <p:cNvSpPr/>
          <p:nvPr/>
        </p:nvSpPr>
        <p:spPr>
          <a:xfrm>
            <a:off x="8163225" y="2047956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Economy Advertising Mail</a:t>
            </a:r>
          </a:p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Mailmark Letter </a:t>
            </a:r>
          </a:p>
        </p:txBody>
      </p:sp>
      <p:pic>
        <p:nvPicPr>
          <p:cNvPr id="128" name="Graphic 127" descr="Envelope outline">
            <a:extLst>
              <a:ext uri="{FF2B5EF4-FFF2-40B4-BE49-F238E27FC236}">
                <a16:creationId xmlns:a16="http://schemas.microsoft.com/office/drawing/2014/main" id="{7E5CB219-9E75-36B4-E5A6-6A8B3C1056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153066" y="2037797"/>
            <a:ext cx="576000" cy="576000"/>
          </a:xfrm>
          <a:prstGeom prst="rect">
            <a:avLst/>
          </a:prstGeom>
        </p:spPr>
      </p:pic>
      <p:pic>
        <p:nvPicPr>
          <p:cNvPr id="129" name="Graphic 128" descr="Qr Code with solid fill">
            <a:extLst>
              <a:ext uri="{FF2B5EF4-FFF2-40B4-BE49-F238E27FC236}">
                <a16:creationId xmlns:a16="http://schemas.microsoft.com/office/drawing/2014/main" id="{825536D9-AC08-5CFA-3D9A-1914C4506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820" y="2079402"/>
            <a:ext cx="520320" cy="520320"/>
          </a:xfrm>
          <a:prstGeom prst="rect">
            <a:avLst/>
          </a:prstGeom>
        </p:spPr>
      </p:pic>
      <p:cxnSp>
        <p:nvCxnSpPr>
          <p:cNvPr id="133" name="Connector: Curved 132">
            <a:extLst>
              <a:ext uri="{FF2B5EF4-FFF2-40B4-BE49-F238E27FC236}">
                <a16:creationId xmlns:a16="http://schemas.microsoft.com/office/drawing/2014/main" id="{AF96A6F9-A6C6-DA4E-6412-00E48C2180E9}"/>
              </a:ext>
            </a:extLst>
          </p:cNvPr>
          <p:cNvCxnSpPr>
            <a:cxnSpLocks/>
            <a:stCxn id="26" idx="3"/>
            <a:endCxn id="4" idx="1"/>
          </p:cNvCxnSpPr>
          <p:nvPr/>
        </p:nvCxnSpPr>
        <p:spPr>
          <a:xfrm flipV="1">
            <a:off x="5276896" y="1589147"/>
            <a:ext cx="1486088" cy="569671"/>
          </a:xfrm>
          <a:prstGeom prst="curvedConnector3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Curved 138">
            <a:extLst>
              <a:ext uri="{FF2B5EF4-FFF2-40B4-BE49-F238E27FC236}">
                <a16:creationId xmlns:a16="http://schemas.microsoft.com/office/drawing/2014/main" id="{3D85BA57-A787-95A8-9721-EB239850D423}"/>
              </a:ext>
            </a:extLst>
          </p:cNvPr>
          <p:cNvCxnSpPr>
            <a:cxnSpLocks/>
            <a:stCxn id="26" idx="3"/>
            <a:endCxn id="126" idx="1"/>
          </p:cNvCxnSpPr>
          <p:nvPr/>
        </p:nvCxnSpPr>
        <p:spPr>
          <a:xfrm>
            <a:off x="5276896" y="2158818"/>
            <a:ext cx="1486088" cy="177138"/>
          </a:xfrm>
          <a:prstGeom prst="curvedConnector3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F6D12CE5-61F1-77CF-8078-33F68E566475}"/>
              </a:ext>
            </a:extLst>
          </p:cNvPr>
          <p:cNvSpPr txBox="1"/>
          <p:nvPr/>
        </p:nvSpPr>
        <p:spPr>
          <a:xfrm>
            <a:off x="5985624" y="2022351"/>
            <a:ext cx="808854" cy="232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11.6p</a:t>
            </a:r>
          </a:p>
        </p:txBody>
      </p:sp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5EB98208-4B00-2AFA-BA67-8BA1429B09CD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5276896" y="2158818"/>
            <a:ext cx="1497020" cy="918079"/>
          </a:xfrm>
          <a:prstGeom prst="curvedConnector3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2CB7D22-A506-6F56-4FDA-C97684886D71}"/>
              </a:ext>
            </a:extLst>
          </p:cNvPr>
          <p:cNvSpPr/>
          <p:nvPr/>
        </p:nvSpPr>
        <p:spPr>
          <a:xfrm>
            <a:off x="6785087" y="2795451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1"/>
                </a:solidFill>
              </a:rPr>
              <a:t>34.2p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50492D1-3B32-1878-5F79-5B0EA9B7CDBD}"/>
              </a:ext>
            </a:extLst>
          </p:cNvPr>
          <p:cNvSpPr/>
          <p:nvPr/>
        </p:nvSpPr>
        <p:spPr>
          <a:xfrm>
            <a:off x="8185328" y="2795451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Advertising Mail Mailmark</a:t>
            </a:r>
          </a:p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Large Letter (0-100g)</a:t>
            </a:r>
          </a:p>
        </p:txBody>
      </p:sp>
      <p:pic>
        <p:nvPicPr>
          <p:cNvPr id="40" name="Graphic 39" descr="Qr Code with solid fill">
            <a:extLst>
              <a:ext uri="{FF2B5EF4-FFF2-40B4-BE49-F238E27FC236}">
                <a16:creationId xmlns:a16="http://schemas.microsoft.com/office/drawing/2014/main" id="{C9C05DA3-A17F-8D05-B872-22282568C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05923" y="2826897"/>
            <a:ext cx="520320" cy="520320"/>
          </a:xfrm>
          <a:prstGeom prst="rect">
            <a:avLst/>
          </a:prstGeom>
        </p:spPr>
      </p:pic>
      <p:pic>
        <p:nvPicPr>
          <p:cNvPr id="41" name="Graphic 40" descr="Paper with solid fill">
            <a:extLst>
              <a:ext uri="{FF2B5EF4-FFF2-40B4-BE49-F238E27FC236}">
                <a16:creationId xmlns:a16="http://schemas.microsoft.com/office/drawing/2014/main" id="{8D34CDC0-8E62-9635-596C-1E5CB07511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83706" y="2784174"/>
            <a:ext cx="576001" cy="576001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72D5C69-C553-0EEB-8036-01F1EA99AA70}"/>
              </a:ext>
            </a:extLst>
          </p:cNvPr>
          <p:cNvSpPr txBox="1"/>
          <p:nvPr/>
        </p:nvSpPr>
        <p:spPr>
          <a:xfrm>
            <a:off x="5792301" y="3010761"/>
            <a:ext cx="808854" cy="23242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0.9p</a:t>
            </a:r>
          </a:p>
        </p:txBody>
      </p:sp>
    </p:spTree>
    <p:extLst>
      <p:ext uri="{BB962C8B-B14F-4D97-AF65-F5344CB8AC3E}">
        <p14:creationId xmlns:p14="http://schemas.microsoft.com/office/powerpoint/2010/main" val="278203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dirty="0">
                <a:solidFill>
                  <a:srgbClr val="37373A"/>
                </a:solidFill>
              </a:rPr>
              <a:t>Barcoding Migration options </a:t>
            </a:r>
            <a:r>
              <a:rPr lang="en-GB" sz="2700" dirty="0"/>
              <a:t> Subscription Mail</a:t>
            </a:r>
            <a:br>
              <a:rPr lang="en-GB" sz="2700" dirty="0"/>
            </a:br>
            <a:endParaRPr lang="en-GB" sz="27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BA7C7B-0088-7933-F1BC-BAB22C34893E}"/>
              </a:ext>
            </a:extLst>
          </p:cNvPr>
          <p:cNvSpPr/>
          <p:nvPr/>
        </p:nvSpPr>
        <p:spPr>
          <a:xfrm>
            <a:off x="6762984" y="2021280"/>
            <a:ext cx="1347138" cy="57599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46.5 to 123.3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54D8CB-761C-CEB3-F5D8-90125C3BB980}"/>
              </a:ext>
            </a:extLst>
          </p:cNvPr>
          <p:cNvSpPr/>
          <p:nvPr/>
        </p:nvSpPr>
        <p:spPr>
          <a:xfrm>
            <a:off x="3980896" y="2014918"/>
            <a:ext cx="1296000" cy="576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1"/>
                </a:solidFill>
              </a:rPr>
              <a:t>55.5 to 138.4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81E190-8325-8D2E-2AAE-0FC6FD90D177}"/>
              </a:ext>
            </a:extLst>
          </p:cNvPr>
          <p:cNvSpPr/>
          <p:nvPr/>
        </p:nvSpPr>
        <p:spPr>
          <a:xfrm>
            <a:off x="8163225" y="2021280"/>
            <a:ext cx="3733725" cy="56289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0" algn="ctr"/>
            <a:r>
              <a:rPr lang="en-GB" sz="1400" b="1" dirty="0">
                <a:solidFill>
                  <a:schemeClr val="tx1"/>
                </a:solidFill>
              </a:rPr>
              <a:t>Subscription Mail Mailmark Large Letter </a:t>
            </a:r>
          </a:p>
        </p:txBody>
      </p:sp>
      <p:pic>
        <p:nvPicPr>
          <p:cNvPr id="33" name="Graphic 32" descr="Qr Code with solid fill">
            <a:extLst>
              <a:ext uri="{FF2B5EF4-FFF2-40B4-BE49-F238E27FC236}">
                <a16:creationId xmlns:a16="http://schemas.microsoft.com/office/drawing/2014/main" id="{A5A9AB27-46CD-9174-3F0D-A643940D1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820" y="2052726"/>
            <a:ext cx="520320" cy="52032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206572D6-4E7E-3D74-1284-BB2690D7FF42}"/>
              </a:ext>
            </a:extLst>
          </p:cNvPr>
          <p:cNvSpPr/>
          <p:nvPr/>
        </p:nvSpPr>
        <p:spPr>
          <a:xfrm>
            <a:off x="230275" y="2016957"/>
            <a:ext cx="3708000" cy="5779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algn="ctr"/>
            <a:r>
              <a:rPr lang="en-GB" sz="1400" b="1" dirty="0">
                <a:solidFill>
                  <a:schemeClr val="tx1"/>
                </a:solidFill>
              </a:rPr>
              <a:t>Subscription Mail Non-Mailmark Large Letter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7AB594-2467-6401-C85B-1149F7B6CA31}"/>
              </a:ext>
            </a:extLst>
          </p:cNvPr>
          <p:cNvCxnSpPr>
            <a:cxnSpLocks/>
            <a:stCxn id="29" idx="3"/>
            <a:endCxn id="24" idx="1"/>
          </p:cNvCxnSpPr>
          <p:nvPr/>
        </p:nvCxnSpPr>
        <p:spPr>
          <a:xfrm>
            <a:off x="5276896" y="2302918"/>
            <a:ext cx="1486088" cy="6362"/>
          </a:xfrm>
          <a:prstGeom prst="straightConnector1">
            <a:avLst/>
          </a:prstGeom>
          <a:ln w="25400" cap="rnd" cmpd="sng" algn="ctr">
            <a:solidFill>
              <a:srgbClr val="00B050"/>
            </a:solidFill>
            <a:prstDash val="solid"/>
            <a:round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45" descr="Paper with solid fill">
            <a:extLst>
              <a:ext uri="{FF2B5EF4-FFF2-40B4-BE49-F238E27FC236}">
                <a16:creationId xmlns:a16="http://schemas.microsoft.com/office/drawing/2014/main" id="{D3ABB8FF-705B-61E3-974A-4D09F1A36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61603" y="2010003"/>
            <a:ext cx="576001" cy="576001"/>
          </a:xfrm>
          <a:prstGeom prst="rect">
            <a:avLst/>
          </a:prstGeom>
        </p:spPr>
      </p:pic>
      <p:pic>
        <p:nvPicPr>
          <p:cNvPr id="52" name="Graphic 51" descr="Paper with solid fill">
            <a:extLst>
              <a:ext uri="{FF2B5EF4-FFF2-40B4-BE49-F238E27FC236}">
                <a16:creationId xmlns:a16="http://schemas.microsoft.com/office/drawing/2014/main" id="{4EB0042A-B63E-396C-2D61-BB17899653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926" y="2026115"/>
            <a:ext cx="576001" cy="576001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7B7781F2-D9A3-C976-AABF-8D9DD756ED2F}"/>
              </a:ext>
            </a:extLst>
          </p:cNvPr>
          <p:cNvSpPr txBox="1"/>
          <p:nvPr/>
        </p:nvSpPr>
        <p:spPr>
          <a:xfrm>
            <a:off x="5240320" y="2010003"/>
            <a:ext cx="1552182" cy="2228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00B050"/>
                </a:solidFill>
              </a:rPr>
              <a:t>- 9.0 to - 15.1p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FB2A4BA-931A-7575-E490-AA5C1EC4AFCC}"/>
              </a:ext>
            </a:extLst>
          </p:cNvPr>
          <p:cNvGrpSpPr/>
          <p:nvPr/>
        </p:nvGrpSpPr>
        <p:grpSpPr>
          <a:xfrm>
            <a:off x="222270" y="3120064"/>
            <a:ext cx="11674681" cy="736062"/>
            <a:chOff x="222270" y="3120064"/>
            <a:chExt cx="11674681" cy="73606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9E4B218-D89E-CE6B-BEFE-0BB9324005EC}"/>
                </a:ext>
              </a:extLst>
            </p:cNvPr>
            <p:cNvSpPr/>
            <p:nvPr/>
          </p:nvSpPr>
          <p:spPr>
            <a:xfrm>
              <a:off x="6762984" y="3233674"/>
              <a:ext cx="1355797" cy="5759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14:cNvPr>
                <p14:cNvContentPartPr/>
                <p14:nvPr/>
              </p14:nvContentPartPr>
              <p14:xfrm>
                <a:off x="5010912" y="3120064"/>
                <a:ext cx="360" cy="3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440B9BD-E2AC-D67D-0FC5-F6CC510D4AD7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001912" y="306606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B250F14-58DB-773D-628D-94128725FF3A}"/>
                </a:ext>
              </a:extLst>
            </p:cNvPr>
            <p:cNvSpPr/>
            <p:nvPr/>
          </p:nvSpPr>
          <p:spPr>
            <a:xfrm>
              <a:off x="8163226" y="3222375"/>
              <a:ext cx="3733725" cy="5759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720000" algn="ctr"/>
              <a:r>
                <a:rPr lang="en-GB" sz="1400" b="1" dirty="0">
                  <a:solidFill>
                    <a:schemeClr val="tx1"/>
                  </a:solidFill>
                </a:rPr>
                <a:t>GLL Manual Mailmark Large </a:t>
              </a:r>
            </a:p>
            <a:p>
              <a:pPr marL="720000" algn="ctr"/>
              <a:r>
                <a:rPr lang="en-GB" sz="1400" b="1" dirty="0">
                  <a:solidFill>
                    <a:schemeClr val="tx1"/>
                  </a:solidFill>
                </a:rPr>
                <a:t>Letter 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196FA20-B75E-D144-8B32-68A17EEC5A9F}"/>
                </a:ext>
              </a:extLst>
            </p:cNvPr>
            <p:cNvSpPr/>
            <p:nvPr/>
          </p:nvSpPr>
          <p:spPr>
            <a:xfrm>
              <a:off x="3980896" y="3235252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55.5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43EF9C57-4ACB-FFEE-D416-467634E5E726}"/>
                    </a:ext>
                  </a:extLst>
                </p14:cNvPr>
                <p14:cNvContentPartPr/>
                <p14:nvPr/>
              </p14:nvContentPartPr>
              <p14:xfrm>
                <a:off x="5010912" y="3855766"/>
                <a:ext cx="360" cy="36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43EF9C57-4ACB-FFEE-D416-467634E5E726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001912" y="3801766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0200579-FEA3-2578-ADA5-ED9C9F2EACC9}"/>
                </a:ext>
              </a:extLst>
            </p:cNvPr>
            <p:cNvSpPr/>
            <p:nvPr/>
          </p:nvSpPr>
          <p:spPr>
            <a:xfrm>
              <a:off x="230275" y="3237291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Subscription Mail Non-Mailmark Large Letter 0-100g (&gt;13mm thick)</a:t>
              </a:r>
            </a:p>
          </p:txBody>
        </p:sp>
        <p:pic>
          <p:nvPicPr>
            <p:cNvPr id="44" name="Graphic 43" descr="Qr Code with solid fill">
              <a:extLst>
                <a:ext uri="{FF2B5EF4-FFF2-40B4-BE49-F238E27FC236}">
                  <a16:creationId xmlns:a16="http://schemas.microsoft.com/office/drawing/2014/main" id="{3E65B387-174E-019E-4237-47A37AEE8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99060" y="3256686"/>
              <a:ext cx="520320" cy="520320"/>
            </a:xfrm>
            <a:prstGeom prst="rect">
              <a:avLst/>
            </a:prstGeom>
          </p:spPr>
        </p:pic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9276A878-8439-19CF-5E1D-1FF58CEFE800}"/>
                </a:ext>
              </a:extLst>
            </p:cNvPr>
            <p:cNvCxnSpPr>
              <a:stCxn id="39" idx="3"/>
              <a:endCxn id="25" idx="1"/>
            </p:cNvCxnSpPr>
            <p:nvPr/>
          </p:nvCxnSpPr>
          <p:spPr>
            <a:xfrm flipV="1">
              <a:off x="5276896" y="3521673"/>
              <a:ext cx="1486088" cy="1579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Graphic 46" descr="Paper with solid fill">
              <a:extLst>
                <a:ext uri="{FF2B5EF4-FFF2-40B4-BE49-F238E27FC236}">
                  <a16:creationId xmlns:a16="http://schemas.microsoft.com/office/drawing/2014/main" id="{2BEF6DEA-2B4B-DEBD-CB32-6DFA82899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70747" y="3217011"/>
              <a:ext cx="576001" cy="576001"/>
            </a:xfrm>
            <a:prstGeom prst="rect">
              <a:avLst/>
            </a:prstGeom>
          </p:spPr>
        </p:pic>
        <p:pic>
          <p:nvPicPr>
            <p:cNvPr id="57" name="Graphic 56" descr="Paper with solid fill">
              <a:extLst>
                <a:ext uri="{FF2B5EF4-FFF2-40B4-BE49-F238E27FC236}">
                  <a16:creationId xmlns:a16="http://schemas.microsoft.com/office/drawing/2014/main" id="{05A099AA-60E4-3A34-67EA-92EFC7BAC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2270" y="3241995"/>
              <a:ext cx="576001" cy="576001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C9182831-9CE2-FFD9-564E-A11AA1B2C7DC}"/>
                </a:ext>
              </a:extLst>
            </p:cNvPr>
            <p:cNvSpPr txBox="1"/>
            <p:nvPr/>
          </p:nvSpPr>
          <p:spPr>
            <a:xfrm>
              <a:off x="5240320" y="3246475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48.5p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8800044-A0B1-1272-1D41-5C5F7503D8FD}"/>
              </a:ext>
            </a:extLst>
          </p:cNvPr>
          <p:cNvSpPr txBox="1"/>
          <p:nvPr/>
        </p:nvSpPr>
        <p:spPr>
          <a:xfrm>
            <a:off x="558256" y="1029788"/>
            <a:ext cx="6094476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tx1">
                    <a:lumMod val="75000"/>
                  </a:schemeClr>
                </a:solidFill>
              </a:rPr>
              <a:t>Jan 2026 postage rat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623D6F-8289-ABB5-E399-99F737F7511E}"/>
              </a:ext>
            </a:extLst>
          </p:cNvPr>
          <p:cNvGrpSpPr/>
          <p:nvPr/>
        </p:nvGrpSpPr>
        <p:grpSpPr>
          <a:xfrm>
            <a:off x="230275" y="3822473"/>
            <a:ext cx="11674681" cy="736062"/>
            <a:chOff x="222270" y="3120064"/>
            <a:chExt cx="11674681" cy="73606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A4DBEC5-3704-F143-85E9-C795E75E5CCA}"/>
                </a:ext>
              </a:extLst>
            </p:cNvPr>
            <p:cNvSpPr/>
            <p:nvPr/>
          </p:nvSpPr>
          <p:spPr>
            <a:xfrm>
              <a:off x="6762984" y="3233674"/>
              <a:ext cx="1355797" cy="5759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104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6DD49253-6744-2252-2C17-24CFD187801D}"/>
                    </a:ext>
                  </a:extLst>
                </p14:cNvPr>
                <p14:cNvContentPartPr/>
                <p14:nvPr/>
              </p14:nvContentPartPr>
              <p14:xfrm>
                <a:off x="5010912" y="3120064"/>
                <a:ext cx="360" cy="36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6DD49253-6744-2252-2C17-24CFD187801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01912" y="3066064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EEA46FE-DA5E-7CF8-746A-2D1B96BCA3E9}"/>
                </a:ext>
              </a:extLst>
            </p:cNvPr>
            <p:cNvSpPr/>
            <p:nvPr/>
          </p:nvSpPr>
          <p:spPr>
            <a:xfrm>
              <a:off x="8163226" y="3222375"/>
              <a:ext cx="3733725" cy="5759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720000" algn="ctr"/>
              <a:r>
                <a:rPr lang="en-GB" sz="1400" b="1" dirty="0">
                  <a:solidFill>
                    <a:schemeClr val="tx1"/>
                  </a:solidFill>
                </a:rPr>
                <a:t>GLL Manual Mailmark Large </a:t>
              </a:r>
            </a:p>
            <a:p>
              <a:pPr marL="720000" algn="ctr"/>
              <a:r>
                <a:rPr lang="en-GB" sz="1400" b="1" dirty="0">
                  <a:solidFill>
                    <a:schemeClr val="tx1"/>
                  </a:solidFill>
                </a:rPr>
                <a:t>Letter 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A1C5D5D-4DEC-4ECD-31CC-271E018264FD}"/>
                </a:ext>
              </a:extLst>
            </p:cNvPr>
            <p:cNvSpPr/>
            <p:nvPr/>
          </p:nvSpPr>
          <p:spPr>
            <a:xfrm>
              <a:off x="3980896" y="3235252"/>
              <a:ext cx="1296000" cy="576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400" b="1" dirty="0">
                  <a:solidFill>
                    <a:schemeClr val="tx1"/>
                  </a:solidFill>
                </a:rPr>
                <a:t>72p</a:t>
              </a: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588D7086-076A-5976-37F9-7266D1122DC8}"/>
                    </a:ext>
                  </a:extLst>
                </p14:cNvPr>
                <p14:cNvContentPartPr/>
                <p14:nvPr/>
              </p14:nvContentPartPr>
              <p14:xfrm>
                <a:off x="5010912" y="3855766"/>
                <a:ext cx="360" cy="36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588D7086-076A-5976-37F9-7266D1122DC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001912" y="3801766"/>
                  <a:ext cx="18000" cy="10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62BF43A-CF39-E946-288A-A947196B861B}"/>
                </a:ext>
              </a:extLst>
            </p:cNvPr>
            <p:cNvSpPr/>
            <p:nvPr/>
          </p:nvSpPr>
          <p:spPr>
            <a:xfrm>
              <a:off x="230275" y="3237291"/>
              <a:ext cx="3708000" cy="57794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 algn="ctr"/>
              <a:r>
                <a:rPr lang="en-GB" sz="1400" b="1" dirty="0">
                  <a:solidFill>
                    <a:schemeClr val="tx1"/>
                  </a:solidFill>
                </a:rPr>
                <a:t>Subscription Mail Non-Mailmark Large Letter 101-250g (&gt;13mm thick)</a:t>
              </a:r>
            </a:p>
          </p:txBody>
        </p:sp>
        <p:pic>
          <p:nvPicPr>
            <p:cNvPr id="12" name="Graphic 11" descr="Qr Code with solid fill">
              <a:extLst>
                <a:ext uri="{FF2B5EF4-FFF2-40B4-BE49-F238E27FC236}">
                  <a16:creationId xmlns:a16="http://schemas.microsoft.com/office/drawing/2014/main" id="{AE8A6A22-90B7-0F1F-1910-357078E15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99060" y="3256686"/>
              <a:ext cx="520320" cy="520320"/>
            </a:xfrm>
            <a:prstGeom prst="rect">
              <a:avLst/>
            </a:prstGeom>
          </p:spPr>
        </p:pic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AF5763-65D2-EEE8-8070-8781995AB3FE}"/>
                </a:ext>
              </a:extLst>
            </p:cNvPr>
            <p:cNvCxnSpPr>
              <a:stCxn id="9" idx="3"/>
              <a:endCxn id="6" idx="1"/>
            </p:cNvCxnSpPr>
            <p:nvPr/>
          </p:nvCxnSpPr>
          <p:spPr>
            <a:xfrm flipV="1">
              <a:off x="5276896" y="3521673"/>
              <a:ext cx="1486088" cy="1579"/>
            </a:xfrm>
            <a:prstGeom prst="straightConnector1">
              <a:avLst/>
            </a:prstGeom>
            <a:ln w="2540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Graphic 13" descr="Paper with solid fill">
              <a:extLst>
                <a:ext uri="{FF2B5EF4-FFF2-40B4-BE49-F238E27FC236}">
                  <a16:creationId xmlns:a16="http://schemas.microsoft.com/office/drawing/2014/main" id="{89C5032C-96D0-16E4-09ED-F447DC750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70747" y="3217011"/>
              <a:ext cx="576001" cy="576001"/>
            </a:xfrm>
            <a:prstGeom prst="rect">
              <a:avLst/>
            </a:prstGeom>
          </p:spPr>
        </p:pic>
        <p:pic>
          <p:nvPicPr>
            <p:cNvPr id="15" name="Graphic 14" descr="Paper with solid fill">
              <a:extLst>
                <a:ext uri="{FF2B5EF4-FFF2-40B4-BE49-F238E27FC236}">
                  <a16:creationId xmlns:a16="http://schemas.microsoft.com/office/drawing/2014/main" id="{95E4E4EC-A3C1-D65A-0854-94DF4AE595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2270" y="3241995"/>
              <a:ext cx="576001" cy="576001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956113D-8C1D-572A-AA4D-61599AD86F7B}"/>
                </a:ext>
              </a:extLst>
            </p:cNvPr>
            <p:cNvSpPr txBox="1"/>
            <p:nvPr/>
          </p:nvSpPr>
          <p:spPr>
            <a:xfrm>
              <a:off x="5240320" y="3246475"/>
              <a:ext cx="1552182" cy="2228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rgbClr val="C00000"/>
                  </a:solidFill>
                </a:rPr>
                <a:t>+ 32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169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30620A-B777-4332-ACAF-9D5B87C013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142" y="1439852"/>
            <a:ext cx="10844784" cy="4414761"/>
          </a:xfrm>
        </p:spPr>
        <p:txBody>
          <a:bodyPr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Customer Consultation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 </a:t>
            </a:r>
          </a:p>
          <a:p>
            <a:pPr marL="345600" lvl="2" indent="0">
              <a:spcBef>
                <a:spcPts val="1200"/>
              </a:spcBef>
              <a:spcAft>
                <a:spcPts val="1200"/>
              </a:spcAft>
              <a:buClrTx/>
              <a:buNone/>
              <a:defRPr/>
            </a:pP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Customer consultation runs from 01/07/2026 and closes on the 24/07/2026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	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800" b="1" dirty="0">
                <a:solidFill>
                  <a:schemeClr val="tx1"/>
                </a:solidFill>
                <a:latin typeface="Aptos" panose="020B0004020202020204" pitchFamily="34" charset="0"/>
              </a:rPr>
              <a:t>Royal Mail reviews feedback </a:t>
            </a:r>
          </a:p>
          <a:p>
            <a:pPr marL="345600" lvl="2" indent="0">
              <a:spcBef>
                <a:spcPts val="1200"/>
              </a:spcBef>
              <a:spcAft>
                <a:spcPts val="1200"/>
              </a:spcAft>
              <a:buClrTx/>
              <a:buNone/>
              <a:defRPr/>
            </a:pP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Royal Mail reviews feedback from 27/07/2026 until the end of August 2026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800" b="1" dirty="0">
                <a:solidFill>
                  <a:schemeClr val="tx1"/>
                </a:solidFill>
                <a:latin typeface="Aptos" panose="020B0004020202020204" pitchFamily="34" charset="0"/>
              </a:rPr>
              <a:t>Royal Mail announce next steps</a:t>
            </a:r>
          </a:p>
          <a:p>
            <a:pPr marL="345600" lvl="2" indent="0">
              <a:spcBef>
                <a:spcPts val="1200"/>
              </a:spcBef>
              <a:spcAft>
                <a:spcPts val="1200"/>
              </a:spcAft>
              <a:buClrTx/>
              <a:buNone/>
              <a:defRPr/>
            </a:pP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</a:rPr>
              <a:t>Next steps announced by end of September 2026 </a:t>
            </a: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586A2-A0FE-44C8-B0B1-1CD7A0939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08" y="463571"/>
            <a:ext cx="9651915" cy="1305890"/>
          </a:xfrm>
        </p:spPr>
        <p:txBody>
          <a:bodyPr/>
          <a:lstStyle/>
          <a:p>
            <a:r>
              <a:rPr lang="en-GB" sz="2700" dirty="0">
                <a:latin typeface="Aptos" panose="020B0004020202020204" pitchFamily="34" charset="0"/>
              </a:rPr>
              <a:t>Our Indicative Timetable </a:t>
            </a:r>
            <a:br>
              <a:rPr lang="en-GB" sz="2700" dirty="0">
                <a:latin typeface="Aptos" panose="020B0004020202020204" pitchFamily="34" charset="0"/>
              </a:rPr>
            </a:b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We</a:t>
            </a:r>
            <a:r>
              <a:rPr kumimoji="0" lang="en-GB" sz="2000" b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lang="en-GB" sz="2000" b="0" dirty="0">
                <a:solidFill>
                  <a:schemeClr val="tx1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+mn-ea"/>
                <a:cs typeface="+mn-cs"/>
              </a:rPr>
              <a:t>are working with the following timetable in mind </a:t>
            </a:r>
            <a:br>
              <a:rPr kumimoji="0" lang="en-GB" sz="1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lang="en-GB" sz="1800" b="0" dirty="0">
                <a:solidFill>
                  <a:schemeClr val="tx1"/>
                </a:solidFill>
              </a:rPr>
              <a:t>   </a:t>
            </a:r>
            <a:endParaRPr lang="en-GB" sz="2700" b="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CA026B-94E9-4CA7-91E8-9C0E4A9615E7}"/>
              </a:ext>
            </a:extLst>
          </p:cNvPr>
          <p:cNvSpPr/>
          <p:nvPr/>
        </p:nvSpPr>
        <p:spPr>
          <a:xfrm>
            <a:off x="387070" y="563772"/>
            <a:ext cx="114178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>
              <a:latin typeface="+mj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lvl="0"/>
            <a:endParaRPr lang="en-GB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4446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heme/theme1.xml><?xml version="1.0" encoding="utf-8"?>
<a:theme xmlns:a="http://schemas.openxmlformats.org/drawingml/2006/main" name="3_Royal Mail Grid 16:9 - 16209">
  <a:themeElements>
    <a:clrScheme name="Royal Mail">
      <a:dk1>
        <a:srgbClr val="404044"/>
      </a:dk1>
      <a:lt1>
        <a:srgbClr val="FFFFFF"/>
      </a:lt1>
      <a:dk2>
        <a:srgbClr val="53535A"/>
      </a:dk2>
      <a:lt2>
        <a:srgbClr val="F4F4F3"/>
      </a:lt2>
      <a:accent1>
        <a:srgbClr val="DA202A"/>
      </a:accent1>
      <a:accent2>
        <a:srgbClr val="172154"/>
      </a:accent2>
      <a:accent3>
        <a:srgbClr val="C1C6C8"/>
      </a:accent3>
      <a:accent4>
        <a:srgbClr val="62A531"/>
      </a:accent4>
      <a:accent5>
        <a:srgbClr val="088578"/>
      </a:accent5>
      <a:accent6>
        <a:srgbClr val="FFB600"/>
      </a:accent6>
      <a:hlink>
        <a:srgbClr val="0892CB"/>
      </a:hlink>
      <a:folHlink>
        <a:srgbClr val="088578"/>
      </a:folHlink>
    </a:clrScheme>
    <a:fontScheme name="Custom 3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A202A"/>
        </a:solidFill>
        <a:ln w="9525" cap="rnd" cmpd="sng" algn="ctr">
          <a:solidFill>
            <a:srgbClr val="DA202A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40404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F49EE6B8E0E64585FF01767C4907B5" ma:contentTypeVersion="10" ma:contentTypeDescription="Create a new document." ma:contentTypeScope="" ma:versionID="7c307ec00528ad45c38a4e4950a89c41">
  <xsd:schema xmlns:xsd="http://www.w3.org/2001/XMLSchema" xmlns:xs="http://www.w3.org/2001/XMLSchema" xmlns:p="http://schemas.microsoft.com/office/2006/metadata/properties" xmlns:ns3="9d7ae4c1-9621-4ef6-b9eb-f050f4c881e3" targetNamespace="http://schemas.microsoft.com/office/2006/metadata/properties" ma:root="true" ma:fieldsID="852354612468c13ffe39b2dc67058802" ns3:_="">
    <xsd:import namespace="9d7ae4c1-9621-4ef6-b9eb-f050f4c881e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7ae4c1-9621-4ef6-b9eb-f050f4c881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218D7E-D9D9-4957-9B76-6A13E47FF5F6}">
  <ds:schemaRefs>
    <ds:schemaRef ds:uri="9d7ae4c1-9621-4ef6-b9eb-f050f4c881e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C21F40C-0FC0-4EBB-BE0A-50FA3ACC80FB}">
  <ds:schemaRefs>
    <ds:schemaRef ds:uri="9d7ae4c1-9621-4ef6-b9eb-f050f4c881e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D46DB04-071C-4536-BDC5-7B9477EC7C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82</TotalTime>
  <Words>1476</Words>
  <Application>Microsoft Office PowerPoint</Application>
  <PresentationFormat>Widescreen</PresentationFormat>
  <Paragraphs>239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ptos</vt:lpstr>
      <vt:lpstr>Arial</vt:lpstr>
      <vt:lpstr>Calibri</vt:lpstr>
      <vt:lpstr>RM First Class Inline</vt:lpstr>
      <vt:lpstr>Trebuchet MS</vt:lpstr>
      <vt:lpstr>3_Royal Mail Grid 16:9 - 16209</vt:lpstr>
      <vt:lpstr>think-cell Slide</vt:lpstr>
      <vt:lpstr>Migrating to Barcoded Products – next phase We want to hear your views </vt:lpstr>
      <vt:lpstr>Introduction  </vt:lpstr>
      <vt:lpstr>Potential Future State – Next Phase Scenarios  </vt:lpstr>
      <vt:lpstr>Continued Support for Customers Migrating to Barcoded Products  We will continue to provide the following support mechanisms to customers</vt:lpstr>
      <vt:lpstr>Migration – Price Considerations</vt:lpstr>
      <vt:lpstr>Barcoding Migration options Business Mail</vt:lpstr>
      <vt:lpstr>Barcoding Migration options Advertising Mail </vt:lpstr>
      <vt:lpstr>Barcoding Migration options  Subscription Mail </vt:lpstr>
      <vt:lpstr>Our Indicative Timetable  We are working with the following timetable in mind     </vt:lpstr>
      <vt:lpstr>Customer Feedback  We invite you to provide feedback on each scenario proposed    </vt:lpstr>
      <vt:lpstr>Responses     We would welcome your response and feedback via any of the following: </vt:lpstr>
      <vt:lpstr>Appendices</vt:lpstr>
      <vt:lpstr>Considerations to enable migration from a non-Mailmark Letter to a  Mailmark product Below are some possible solutions to develop with you, providing clear options for potential migration</vt:lpstr>
      <vt:lpstr>Considerations to enable migration from a non-Mailmark Large Letter  to a Mailmark product Below are some possible solutions to develop with you, providing clear options for potential migration </vt:lpstr>
      <vt:lpstr>Thank you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 Cable</dc:title>
  <dc:creator>Tim Cable</dc:creator>
  <cp:lastModifiedBy>Kathryn Howe</cp:lastModifiedBy>
  <cp:revision>1719</cp:revision>
  <dcterms:created xsi:type="dcterms:W3CDTF">2019-05-02T13:56:26Z</dcterms:created>
  <dcterms:modified xsi:type="dcterms:W3CDTF">2026-06-30T09:3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F49EE6B8E0E64585FF01767C4907B5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5-08-04T13:24:18Z</vt:lpwstr>
  </property>
  <property fmtid="{D5CDD505-2E9C-101B-9397-08002B2CF9AE}" pid="5" name="MSIP_Label_980f36f3-41a5-4f45-a6a2-e224f336accd_Method">
    <vt:lpwstr>Privilege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>970fb593-8110-4faf-b9a4-a0027412d76f</vt:lpwstr>
  </property>
  <property fmtid="{D5CDD505-2E9C-101B-9397-08002B2CF9AE}" pid="9" name="MSIP_Label_980f36f3-41a5-4f45-a6a2-e224f336accd_ContentBits">
    <vt:lpwstr>2</vt:lpwstr>
  </property>
  <property fmtid="{D5CDD505-2E9C-101B-9397-08002B2CF9AE}" pid="10" name="ClassificationContentMarkingFooterLocations">
    <vt:lpwstr>3_Royal Mail Grid 16\:9 - 16209:3</vt:lpwstr>
  </property>
  <property fmtid="{D5CDD505-2E9C-101B-9397-08002B2CF9AE}" pid="11" name="ClassificationContentMarkingFooterText">
    <vt:lpwstr>Classified: RMG – Internal</vt:lpwstr>
  </property>
</Properties>
</file>